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02" r:id="rId3"/>
    <p:sldId id="303" r:id="rId5"/>
    <p:sldId id="304" r:id="rId6"/>
    <p:sldId id="325" r:id="rId7"/>
    <p:sldId id="326" r:id="rId8"/>
    <p:sldId id="327" r:id="rId9"/>
    <p:sldId id="328" r:id="rId10"/>
    <p:sldId id="329" r:id="rId11"/>
    <p:sldId id="330" r:id="rId12"/>
    <p:sldId id="331" r:id="rId13"/>
    <p:sldId id="332" r:id="rId14"/>
    <p:sldId id="333" r:id="rId15"/>
    <p:sldId id="334" r:id="rId16"/>
    <p:sldId id="355" r:id="rId17"/>
    <p:sldId id="356" r:id="rId18"/>
    <p:sldId id="358" r:id="rId19"/>
    <p:sldId id="357" r:id="rId20"/>
    <p:sldId id="359" r:id="rId21"/>
    <p:sldId id="360" r:id="rId22"/>
    <p:sldId id="308" r:id="rId23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</p:showPr>
  <p:clrMru>
    <a:srgbClr val="00194A"/>
    <a:srgbClr val="FF94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-226" y="-264"/>
      </p:cViewPr>
      <p:guideLst>
        <p:guide orient="horz" pos="2167"/>
        <p:guide pos="629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7" Type="http://schemas.openxmlformats.org/officeDocument/2006/relationships/tags" Target="tags/tag40.xml"/><Relationship Id="rId26" Type="http://schemas.openxmlformats.org/officeDocument/2006/relationships/tableStyles" Target="tableStyles.xml"/><Relationship Id="rId25" Type="http://schemas.openxmlformats.org/officeDocument/2006/relationships/viewProps" Target="viewProps.xml"/><Relationship Id="rId24" Type="http://schemas.openxmlformats.org/officeDocument/2006/relationships/presProps" Target="presProps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3C5A01-9D17-4D0E-A4CA-BF7BA6EB2E5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8275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Go to the Master Slides for editing / </a:t>
            </a:r>
            <a:r>
              <a:rPr lang="en-US" b="1" dirty="0"/>
              <a:t>View</a:t>
            </a:r>
            <a:r>
              <a:rPr lang="en-US" b="1" baseline="0" dirty="0"/>
              <a:t> Tab &gt; Slide Master &gt; Edit &gt; Close Master View &gt; Done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36486-6481-4517-93D6-377984602E0D}" type="slidenum">
              <a:rPr lang="ru-RU" smtClean="0"/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88EDA8-AA38-4EC8-A4A2-C9E52DD3CCD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88EDA8-AA38-4EC8-A4A2-C9E52DD3CCD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E8EDC-1225-47E3-9680-C9FAF722F7A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8275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Go to the Master Slides for editing / </a:t>
            </a:r>
            <a:r>
              <a:rPr lang="en-US" b="1" dirty="0"/>
              <a:t>View</a:t>
            </a:r>
            <a:r>
              <a:rPr lang="en-US" b="1" baseline="0" dirty="0"/>
              <a:t> Tab &gt; Slide Master &gt; Edit &gt; Close Master View &gt; Done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75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C936486-6481-4517-93D6-377984602E0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E8EDC-1225-47E3-9680-C9FAF722F7A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88EDA8-AA38-4EC8-A4A2-C9E52DD3CCD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88EDA8-AA38-4EC8-A4A2-C9E52DD3CCD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88EDA8-AA38-4EC8-A4A2-C9E52DD3CCD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66DA4-DC5B-4171-A226-591CC3A60AF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B39EC24E-3E67-4479-BC9E-AA3AC6EE25F4}" type="datetimeFigureOut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3_Content with Chart">
    <p:bg>
      <p:bgPr>
        <a:gradFill>
          <a:gsLst>
            <a:gs pos="40000">
              <a:schemeClr val="tx2">
                <a:lumMod val="60000"/>
                <a:lumOff val="40000"/>
              </a:schemeClr>
            </a:gs>
            <a:gs pos="0">
              <a:schemeClr val="tx2">
                <a:lumMod val="20000"/>
                <a:lumOff val="8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69_Content with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" name="Текст 7"/>
          <p:cNvSpPr>
            <a:spLocks noGrp="1"/>
          </p:cNvSpPr>
          <p:nvPr>
            <p:ph type="body" sz="quarter" idx="159" hasCustomPrompt="1"/>
          </p:nvPr>
        </p:nvSpPr>
        <p:spPr>
          <a:xfrm>
            <a:off x="1225711" y="1048518"/>
            <a:ext cx="2097560" cy="2164785"/>
          </a:xfrm>
          <a:prstGeom prst="rect">
            <a:avLst/>
          </a:prstGeom>
          <a:solidFill>
            <a:schemeClr val="bg1"/>
          </a:solidFill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txBody>
          <a:bodyPr lIns="179996" tIns="0" rIns="179996" bIns="143996" anchor="b" anchorCtr="0">
            <a:noAutofit/>
          </a:bodyPr>
          <a:lstStyle>
            <a:lvl1pPr algn="ctr">
              <a:lnSpc>
                <a:spcPct val="150000"/>
              </a:lnSpc>
              <a:spcBef>
                <a:spcPts val="0"/>
              </a:spcBef>
              <a:defRPr lang="en-US" sz="1100" b="0" i="0" spc="200" baseline="0" smtClean="0"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WRITE CAPTION HERE</a:t>
            </a:r>
            <a:endParaRPr lang="en-US" dirty="0"/>
          </a:p>
        </p:txBody>
      </p:sp>
      <p:sp>
        <p:nvSpPr>
          <p:cNvPr id="660" name="Текст 7"/>
          <p:cNvSpPr>
            <a:spLocks noGrp="1"/>
          </p:cNvSpPr>
          <p:nvPr>
            <p:ph type="body" sz="quarter" idx="160" hasCustomPrompt="1"/>
          </p:nvPr>
        </p:nvSpPr>
        <p:spPr>
          <a:xfrm>
            <a:off x="3773984" y="1048518"/>
            <a:ext cx="2097560" cy="2164785"/>
          </a:xfrm>
          <a:prstGeom prst="rect">
            <a:avLst/>
          </a:prstGeom>
          <a:solidFill>
            <a:schemeClr val="bg1"/>
          </a:solidFill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txBody>
          <a:bodyPr lIns="179996" tIns="0" rIns="179996" bIns="143996" anchor="b" anchorCtr="0">
            <a:noAutofit/>
          </a:bodyPr>
          <a:lstStyle>
            <a:lvl1pPr algn="ctr">
              <a:lnSpc>
                <a:spcPct val="150000"/>
              </a:lnSpc>
              <a:spcBef>
                <a:spcPts val="0"/>
              </a:spcBef>
              <a:defRPr lang="en-US" sz="1100" b="0" i="0" spc="200" baseline="0" smtClean="0"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WRITE CAPTION HERE</a:t>
            </a:r>
            <a:endParaRPr lang="en-US" dirty="0"/>
          </a:p>
        </p:txBody>
      </p:sp>
      <p:sp>
        <p:nvSpPr>
          <p:cNvPr id="661" name="Текст 7"/>
          <p:cNvSpPr>
            <a:spLocks noGrp="1"/>
          </p:cNvSpPr>
          <p:nvPr>
            <p:ph type="body" sz="quarter" idx="161" hasCustomPrompt="1"/>
          </p:nvPr>
        </p:nvSpPr>
        <p:spPr>
          <a:xfrm>
            <a:off x="6313235" y="1048518"/>
            <a:ext cx="2097560" cy="2168853"/>
          </a:xfrm>
          <a:prstGeom prst="rect">
            <a:avLst/>
          </a:prstGeom>
          <a:solidFill>
            <a:schemeClr val="bg1"/>
          </a:solidFill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txBody>
          <a:bodyPr lIns="179996" tIns="0" rIns="179996" bIns="143996" anchor="b" anchorCtr="0">
            <a:noAutofit/>
          </a:bodyPr>
          <a:lstStyle>
            <a:lvl1pPr algn="ctr">
              <a:lnSpc>
                <a:spcPct val="150000"/>
              </a:lnSpc>
              <a:spcBef>
                <a:spcPts val="0"/>
              </a:spcBef>
              <a:defRPr lang="en-US" sz="1100" b="0" i="0" spc="200" baseline="0" smtClean="0"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WRITE CAPTION HERE</a:t>
            </a:r>
            <a:endParaRPr lang="en-US" dirty="0"/>
          </a:p>
        </p:txBody>
      </p:sp>
      <p:sp>
        <p:nvSpPr>
          <p:cNvPr id="662" name="Текст 7"/>
          <p:cNvSpPr>
            <a:spLocks noGrp="1"/>
          </p:cNvSpPr>
          <p:nvPr>
            <p:ph type="body" sz="quarter" idx="162" hasCustomPrompt="1"/>
          </p:nvPr>
        </p:nvSpPr>
        <p:spPr>
          <a:xfrm>
            <a:off x="8856220" y="1048518"/>
            <a:ext cx="2097560" cy="2177764"/>
          </a:xfrm>
          <a:prstGeom prst="rect">
            <a:avLst/>
          </a:prstGeom>
          <a:solidFill>
            <a:schemeClr val="bg1"/>
          </a:solidFill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txBody>
          <a:bodyPr lIns="179996" tIns="0" rIns="179996" bIns="143996" anchor="b" anchorCtr="0">
            <a:noAutofit/>
          </a:bodyPr>
          <a:lstStyle>
            <a:lvl1pPr algn="ctr">
              <a:lnSpc>
                <a:spcPct val="150000"/>
              </a:lnSpc>
              <a:spcBef>
                <a:spcPts val="0"/>
              </a:spcBef>
              <a:defRPr lang="en-US" sz="1100" b="0" i="0" spc="200" baseline="0" smtClean="0"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WRITE CAPTION HERE</a:t>
            </a:r>
            <a:endParaRPr lang="en-US" dirty="0"/>
          </a:p>
        </p:txBody>
      </p:sp>
      <p:sp>
        <p:nvSpPr>
          <p:cNvPr id="181" name="Текст 7"/>
          <p:cNvSpPr>
            <a:spLocks noGrp="1"/>
          </p:cNvSpPr>
          <p:nvPr>
            <p:ph type="body" sz="quarter" idx="163" hasCustomPrompt="1"/>
          </p:nvPr>
        </p:nvSpPr>
        <p:spPr>
          <a:xfrm>
            <a:off x="1225711" y="3610949"/>
            <a:ext cx="2097560" cy="2164785"/>
          </a:xfrm>
          <a:prstGeom prst="rect">
            <a:avLst/>
          </a:prstGeom>
          <a:solidFill>
            <a:schemeClr val="bg1"/>
          </a:solidFill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txBody>
          <a:bodyPr lIns="179996" tIns="0" rIns="179996" bIns="143996" anchor="b" anchorCtr="0">
            <a:noAutofit/>
          </a:bodyPr>
          <a:lstStyle>
            <a:lvl1pPr algn="ctr">
              <a:lnSpc>
                <a:spcPct val="150000"/>
              </a:lnSpc>
              <a:spcBef>
                <a:spcPts val="0"/>
              </a:spcBef>
              <a:defRPr lang="en-US" sz="1100" b="0" i="0" spc="200" baseline="0" smtClean="0"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WRITE CAPTION HERE</a:t>
            </a:r>
            <a:endParaRPr lang="en-US" dirty="0"/>
          </a:p>
        </p:txBody>
      </p:sp>
      <p:sp>
        <p:nvSpPr>
          <p:cNvPr id="182" name="Текст 7"/>
          <p:cNvSpPr>
            <a:spLocks noGrp="1"/>
          </p:cNvSpPr>
          <p:nvPr>
            <p:ph type="body" sz="quarter" idx="164" hasCustomPrompt="1"/>
          </p:nvPr>
        </p:nvSpPr>
        <p:spPr>
          <a:xfrm>
            <a:off x="3773984" y="3610949"/>
            <a:ext cx="2097560" cy="2164785"/>
          </a:xfrm>
          <a:prstGeom prst="rect">
            <a:avLst/>
          </a:prstGeom>
          <a:solidFill>
            <a:schemeClr val="bg1"/>
          </a:solidFill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txBody>
          <a:bodyPr lIns="179996" tIns="0" rIns="179996" bIns="143996" anchor="b" anchorCtr="0">
            <a:noAutofit/>
          </a:bodyPr>
          <a:lstStyle>
            <a:lvl1pPr algn="ctr">
              <a:lnSpc>
                <a:spcPct val="150000"/>
              </a:lnSpc>
              <a:spcBef>
                <a:spcPts val="0"/>
              </a:spcBef>
              <a:defRPr lang="en-US" sz="1100" b="0" i="0" spc="200" baseline="0" smtClean="0"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WRITE CAPTION HERE</a:t>
            </a:r>
            <a:endParaRPr lang="en-US" dirty="0"/>
          </a:p>
        </p:txBody>
      </p:sp>
      <p:sp>
        <p:nvSpPr>
          <p:cNvPr id="183" name="Текст 7"/>
          <p:cNvSpPr>
            <a:spLocks noGrp="1"/>
          </p:cNvSpPr>
          <p:nvPr>
            <p:ph type="body" sz="quarter" idx="165" hasCustomPrompt="1"/>
          </p:nvPr>
        </p:nvSpPr>
        <p:spPr>
          <a:xfrm>
            <a:off x="6313235" y="3610948"/>
            <a:ext cx="2097560" cy="2168853"/>
          </a:xfrm>
          <a:prstGeom prst="rect">
            <a:avLst/>
          </a:prstGeom>
          <a:solidFill>
            <a:schemeClr val="bg1"/>
          </a:solidFill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txBody>
          <a:bodyPr lIns="179996" tIns="0" rIns="179996" bIns="143996" anchor="b" anchorCtr="0">
            <a:noAutofit/>
          </a:bodyPr>
          <a:lstStyle>
            <a:lvl1pPr algn="ctr">
              <a:lnSpc>
                <a:spcPct val="150000"/>
              </a:lnSpc>
              <a:spcBef>
                <a:spcPts val="0"/>
              </a:spcBef>
              <a:defRPr lang="en-US" sz="1100" b="0" i="0" spc="200" baseline="0" smtClean="0"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WRITE CAPTION HERE</a:t>
            </a:r>
            <a:endParaRPr lang="en-US" dirty="0"/>
          </a:p>
        </p:txBody>
      </p:sp>
      <p:sp>
        <p:nvSpPr>
          <p:cNvPr id="184" name="Текст 7"/>
          <p:cNvSpPr>
            <a:spLocks noGrp="1"/>
          </p:cNvSpPr>
          <p:nvPr>
            <p:ph type="body" sz="quarter" idx="166" hasCustomPrompt="1"/>
          </p:nvPr>
        </p:nvSpPr>
        <p:spPr>
          <a:xfrm>
            <a:off x="8856220" y="3610949"/>
            <a:ext cx="2097560" cy="2177764"/>
          </a:xfrm>
          <a:prstGeom prst="rect">
            <a:avLst/>
          </a:prstGeom>
          <a:solidFill>
            <a:schemeClr val="bg1"/>
          </a:solidFill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txBody>
          <a:bodyPr lIns="179996" tIns="0" rIns="179996" bIns="143996" anchor="b" anchorCtr="0">
            <a:noAutofit/>
          </a:bodyPr>
          <a:lstStyle>
            <a:lvl1pPr algn="ctr">
              <a:lnSpc>
                <a:spcPct val="150000"/>
              </a:lnSpc>
              <a:spcBef>
                <a:spcPts val="0"/>
              </a:spcBef>
              <a:defRPr lang="en-US" sz="1100" b="0" i="0" spc="200" baseline="0" smtClean="0"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WRITE CAPTION HERE</a:t>
            </a:r>
            <a:endParaRPr lang="en-US" dirty="0"/>
          </a:p>
        </p:txBody>
      </p:sp>
      <p:sp>
        <p:nvSpPr>
          <p:cNvPr id="10" name="Shape 58"/>
          <p:cNvSpPr>
            <a:spLocks noGrp="1"/>
          </p:cNvSpPr>
          <p:nvPr>
            <p:ph type="sldNum" sz="quarter" idx="2"/>
          </p:nvPr>
        </p:nvSpPr>
        <p:spPr>
          <a:xfrm>
            <a:off x="0" y="6285243"/>
            <a:ext cx="1016000" cy="572715"/>
          </a:xfrm>
          <a:prstGeom prst="rect">
            <a:avLst/>
          </a:prstGeom>
        </p:spPr>
        <p:txBody>
          <a:bodyPr lIns="121917" tIns="60958" rIns="121917" bIns="60958" anchor="ctr" anchorCtr="0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uk-UA" smtClean="0"/>
            </a:fld>
            <a:endParaRPr lang="uk-UA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0" y="2657474"/>
            <a:ext cx="7438597" cy="147404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400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altLang="zh-CN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704850" y="4257247"/>
            <a:ext cx="7438597" cy="42524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altLang="zh-CN" dirty="0"/>
              <a:t>Click to edit Master subtitle style</a:t>
            </a:r>
            <a:endParaRPr lang="en-US" altLang="zh-CN" dirty="0"/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704850" y="5934771"/>
            <a:ext cx="2061210" cy="3108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sz="1200" dirty="0">
                <a:solidFill>
                  <a:schemeClr val="bg1">
                    <a:lumMod val="85000"/>
                    <a:alpha val="60000"/>
                  </a:schemeClr>
                </a:solidFill>
              </a:rPr>
              <a:t>www.islide.cc</a:t>
            </a:r>
            <a:endParaRPr lang="en-US" altLang="en-US" sz="1200" dirty="0">
              <a:solidFill>
                <a:schemeClr val="bg1">
                  <a:lumMod val="85000"/>
                  <a:alpha val="60000"/>
                </a:schemeClr>
              </a:solidFill>
            </a:endParaRPr>
          </a:p>
        </p:txBody>
      </p:sp>
      <p:sp>
        <p:nvSpPr>
          <p:cNvPr id="17" name="文本占位符 16"/>
          <p:cNvSpPr>
            <a:spLocks noGrp="1"/>
          </p:cNvSpPr>
          <p:nvPr>
            <p:ph type="body" sz="quarter" idx="9" hasCustomPrompt="1"/>
          </p:nvPr>
        </p:nvSpPr>
        <p:spPr>
          <a:xfrm>
            <a:off x="8721090" y="5926511"/>
            <a:ext cx="2747010" cy="2962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en-US" altLang="zh-CN" sz="1200" dirty="0">
                <a:solidFill>
                  <a:schemeClr val="bg1">
                    <a:lumMod val="85000"/>
                    <a:alpha val="60000"/>
                  </a:schemeClr>
                </a:solidFill>
              </a:rPr>
              <a:t>Speaker name and title</a:t>
            </a:r>
            <a:endParaRPr lang="en-US" altLang="zh-CN" sz="1200" dirty="0">
              <a:solidFill>
                <a:schemeClr val="bg1">
                  <a:lumMod val="85000"/>
                  <a:alpha val="60000"/>
                </a:schemeClr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21_Content &amp; Image">
    <p:bg>
      <p:bgPr>
        <a:gradFill>
          <a:gsLst>
            <a:gs pos="100000">
              <a:schemeClr val="tx2">
                <a:lumMod val="60000"/>
                <a:lumOff val="40000"/>
              </a:schemeClr>
            </a:gs>
            <a:gs pos="0">
              <a:schemeClr val="tx2">
                <a:lumMod val="20000"/>
                <a:lumOff val="8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 userDrawn="1"/>
        </p:nvSpPr>
        <p:spPr>
          <a:xfrm>
            <a:off x="2091056" y="80284"/>
            <a:ext cx="1755688" cy="6297656"/>
          </a:xfrm>
          <a:prstGeom prst="roundRect">
            <a:avLst>
              <a:gd name="adj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270000" dist="889000" dir="8100000" algn="tl" rotWithShape="0">
              <a:schemeClr val="tx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sp>
        <p:nvSpPr>
          <p:cNvPr id="15" name="Shape 613"/>
          <p:cNvSpPr>
            <a:spLocks noGrp="1"/>
          </p:cNvSpPr>
          <p:nvPr>
            <p:ph type="pic" sz="quarter" idx="55" hasCustomPrompt="1"/>
          </p:nvPr>
        </p:nvSpPr>
        <p:spPr>
          <a:xfrm>
            <a:off x="2031997" y="80284"/>
            <a:ext cx="4064003" cy="6858000"/>
          </a:xfrm>
          <a:prstGeom prst="rect">
            <a:avLst/>
          </a:prstGeom>
          <a:solidFill>
            <a:schemeClr val="tx1">
              <a:alpha val="10000"/>
            </a:schemeClr>
          </a:solidFill>
          <a:effectLst/>
        </p:spPr>
        <p:txBody>
          <a:bodyPr lIns="45719" tIns="22859" rIns="45719" bIns="22859" anchor="ctr">
            <a:noAutofit/>
          </a:bodyPr>
          <a:lstStyle>
            <a:lvl1pPr marL="0" marR="0" indent="0" algn="ctr" defTabSz="453390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Tx/>
              <a:buSzPct val="100000"/>
              <a:buFontTx/>
              <a:buNone/>
              <a:defRPr sz="1200" spc="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Drag &amp; Drop your image here</a:t>
            </a:r>
            <a:endParaRPr lang="en-US" dirty="0"/>
          </a:p>
          <a:p>
            <a:endParaRPr dirty="0"/>
          </a:p>
        </p:txBody>
      </p:sp>
      <p:sp>
        <p:nvSpPr>
          <p:cNvPr id="16" name="Shape 17"/>
          <p:cNvSpPr>
            <a:spLocks noGrp="1"/>
          </p:cNvSpPr>
          <p:nvPr>
            <p:ph type="body" sz="quarter" idx="142" hasCustomPrompt="1"/>
          </p:nvPr>
        </p:nvSpPr>
        <p:spPr>
          <a:xfrm>
            <a:off x="1016000" y="1703270"/>
            <a:ext cx="5080000" cy="343650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 defTabSz="914400">
              <a:lnSpc>
                <a:spcPct val="100000"/>
              </a:lnSpc>
              <a:spcBef>
                <a:spcPts val="0"/>
              </a:spcBef>
              <a:defRPr sz="4800" b="1" spc="-100" baseline="0">
                <a:solidFill>
                  <a:schemeClr val="tx1"/>
                </a:solidFill>
                <a:latin typeface="+mj-lt"/>
                <a:ea typeface="Work Sans"/>
                <a:cs typeface="Work Sans"/>
                <a:sym typeface="Work Sans"/>
              </a:defRPr>
            </a:lvl1pPr>
          </a:lstStyle>
          <a:p>
            <a:r>
              <a:rPr lang="nl-NL" dirty="0"/>
              <a:t>H2 Title here</a:t>
            </a:r>
            <a:endParaRPr lang="nl-NL" dirty="0"/>
          </a:p>
        </p:txBody>
      </p:sp>
      <p:sp>
        <p:nvSpPr>
          <p:cNvPr id="18" name="Shape 58"/>
          <p:cNvSpPr>
            <a:spLocks noGrp="1"/>
          </p:cNvSpPr>
          <p:nvPr>
            <p:ph type="sldNum" sz="quarter" idx="2"/>
          </p:nvPr>
        </p:nvSpPr>
        <p:spPr>
          <a:xfrm>
            <a:off x="0" y="6285243"/>
            <a:ext cx="1016000" cy="572715"/>
          </a:xfrm>
          <a:prstGeom prst="rect">
            <a:avLst/>
          </a:prstGeom>
        </p:spPr>
        <p:txBody>
          <a:bodyPr lIns="121917" tIns="60958" rIns="121917" bIns="60958" anchor="ctr" anchorCtr="0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uk-UA" smtClean="0"/>
            </a:fld>
            <a:endParaRPr lang="uk-UA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62_Content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89_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Freeform 191"/>
          <p:cNvSpPr>
            <a:spLocks noChangeAspect="1"/>
          </p:cNvSpPr>
          <p:nvPr userDrawn="1"/>
        </p:nvSpPr>
        <p:spPr>
          <a:xfrm>
            <a:off x="1016000" y="581863"/>
            <a:ext cx="2835000" cy="5670000"/>
          </a:xfrm>
          <a:custGeom>
            <a:avLst/>
            <a:gdLst>
              <a:gd name="connsiteX0" fmla="*/ 5670000 w 5670000"/>
              <a:gd name="connsiteY0" fmla="*/ 0 h 11340000"/>
              <a:gd name="connsiteX1" fmla="*/ 5670000 w 5670000"/>
              <a:gd name="connsiteY1" fmla="*/ 360000 h 11340000"/>
              <a:gd name="connsiteX2" fmla="*/ 360000 w 5670000"/>
              <a:gd name="connsiteY2" fmla="*/ 5670000 h 11340000"/>
              <a:gd name="connsiteX3" fmla="*/ 5670000 w 5670000"/>
              <a:gd name="connsiteY3" fmla="*/ 10980000 h 11340000"/>
              <a:gd name="connsiteX4" fmla="*/ 5670000 w 5670000"/>
              <a:gd name="connsiteY4" fmla="*/ 11340000 h 11340000"/>
              <a:gd name="connsiteX5" fmla="*/ 0 w 5670000"/>
              <a:gd name="connsiteY5" fmla="*/ 5670000 h 11340000"/>
              <a:gd name="connsiteX6" fmla="*/ 5670000 w 5670000"/>
              <a:gd name="connsiteY6" fmla="*/ 0 h 113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70000" h="11340000">
                <a:moveTo>
                  <a:pt x="5670000" y="0"/>
                </a:moveTo>
                <a:lnTo>
                  <a:pt x="5670000" y="360000"/>
                </a:lnTo>
                <a:cubicBezTo>
                  <a:pt x="2737368" y="360000"/>
                  <a:pt x="360000" y="2737368"/>
                  <a:pt x="360000" y="5670000"/>
                </a:cubicBezTo>
                <a:cubicBezTo>
                  <a:pt x="360000" y="8602632"/>
                  <a:pt x="2737368" y="10980000"/>
                  <a:pt x="5670000" y="10980000"/>
                </a:cubicBezTo>
                <a:lnTo>
                  <a:pt x="5670000" y="11340000"/>
                </a:lnTo>
                <a:cubicBezTo>
                  <a:pt x="2538545" y="11340000"/>
                  <a:pt x="0" y="8801455"/>
                  <a:pt x="0" y="5670000"/>
                </a:cubicBezTo>
                <a:cubicBezTo>
                  <a:pt x="0" y="2538545"/>
                  <a:pt x="2538545" y="0"/>
                  <a:pt x="5670000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190" name="Freeform 189"/>
          <p:cNvSpPr>
            <a:spLocks noChangeAspect="1"/>
          </p:cNvSpPr>
          <p:nvPr userDrawn="1"/>
        </p:nvSpPr>
        <p:spPr>
          <a:xfrm>
            <a:off x="1286000" y="851821"/>
            <a:ext cx="2565000" cy="5130000"/>
          </a:xfrm>
          <a:custGeom>
            <a:avLst/>
            <a:gdLst>
              <a:gd name="connsiteX0" fmla="*/ 5130000 w 5130000"/>
              <a:gd name="connsiteY0" fmla="*/ 0 h 10260000"/>
              <a:gd name="connsiteX1" fmla="*/ 5130000 w 5130000"/>
              <a:gd name="connsiteY1" fmla="*/ 360000 h 10260000"/>
              <a:gd name="connsiteX2" fmla="*/ 360000 w 5130000"/>
              <a:gd name="connsiteY2" fmla="*/ 5130000 h 10260000"/>
              <a:gd name="connsiteX3" fmla="*/ 5130000 w 5130000"/>
              <a:gd name="connsiteY3" fmla="*/ 9900000 h 10260000"/>
              <a:gd name="connsiteX4" fmla="*/ 5130000 w 5130000"/>
              <a:gd name="connsiteY4" fmla="*/ 10260000 h 10260000"/>
              <a:gd name="connsiteX5" fmla="*/ 0 w 5130000"/>
              <a:gd name="connsiteY5" fmla="*/ 5130000 h 10260000"/>
              <a:gd name="connsiteX6" fmla="*/ 5130000 w 5130000"/>
              <a:gd name="connsiteY6" fmla="*/ 0 h 10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30000" h="10260000">
                <a:moveTo>
                  <a:pt x="5130000" y="0"/>
                </a:moveTo>
                <a:lnTo>
                  <a:pt x="5130000" y="360000"/>
                </a:lnTo>
                <a:cubicBezTo>
                  <a:pt x="2495603" y="360000"/>
                  <a:pt x="360000" y="2495603"/>
                  <a:pt x="360000" y="5130000"/>
                </a:cubicBezTo>
                <a:cubicBezTo>
                  <a:pt x="360000" y="7764398"/>
                  <a:pt x="2495603" y="9900000"/>
                  <a:pt x="5130000" y="9900000"/>
                </a:cubicBezTo>
                <a:lnTo>
                  <a:pt x="5130000" y="10260000"/>
                </a:lnTo>
                <a:cubicBezTo>
                  <a:pt x="2296779" y="10260000"/>
                  <a:pt x="0" y="7963221"/>
                  <a:pt x="0" y="5130000"/>
                </a:cubicBezTo>
                <a:cubicBezTo>
                  <a:pt x="0" y="2296779"/>
                  <a:pt x="2296779" y="0"/>
                  <a:pt x="5130000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188" name="Freeform 187"/>
          <p:cNvSpPr>
            <a:spLocks noChangeAspect="1"/>
          </p:cNvSpPr>
          <p:nvPr userDrawn="1"/>
        </p:nvSpPr>
        <p:spPr>
          <a:xfrm>
            <a:off x="1556000" y="1121863"/>
            <a:ext cx="2295000" cy="4590000"/>
          </a:xfrm>
          <a:custGeom>
            <a:avLst/>
            <a:gdLst>
              <a:gd name="connsiteX0" fmla="*/ 4590000 w 4590000"/>
              <a:gd name="connsiteY0" fmla="*/ 0 h 9180000"/>
              <a:gd name="connsiteX1" fmla="*/ 4590000 w 4590000"/>
              <a:gd name="connsiteY1" fmla="*/ 360000 h 9180000"/>
              <a:gd name="connsiteX2" fmla="*/ 360000 w 4590000"/>
              <a:gd name="connsiteY2" fmla="*/ 4590000 h 9180000"/>
              <a:gd name="connsiteX3" fmla="*/ 4590000 w 4590000"/>
              <a:gd name="connsiteY3" fmla="*/ 8820000 h 9180000"/>
              <a:gd name="connsiteX4" fmla="*/ 4590000 w 4590000"/>
              <a:gd name="connsiteY4" fmla="*/ 9180000 h 9180000"/>
              <a:gd name="connsiteX5" fmla="*/ 0 w 4590000"/>
              <a:gd name="connsiteY5" fmla="*/ 4590000 h 9180000"/>
              <a:gd name="connsiteX6" fmla="*/ 4590000 w 4590000"/>
              <a:gd name="connsiteY6" fmla="*/ 0 h 91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0000" h="9180000">
                <a:moveTo>
                  <a:pt x="4590000" y="0"/>
                </a:moveTo>
                <a:lnTo>
                  <a:pt x="4590000" y="360000"/>
                </a:lnTo>
                <a:cubicBezTo>
                  <a:pt x="2253836" y="360000"/>
                  <a:pt x="360000" y="2253836"/>
                  <a:pt x="360000" y="4590000"/>
                </a:cubicBezTo>
                <a:cubicBezTo>
                  <a:pt x="360000" y="6926164"/>
                  <a:pt x="2253836" y="8820000"/>
                  <a:pt x="4590000" y="8820000"/>
                </a:cubicBezTo>
                <a:lnTo>
                  <a:pt x="4590000" y="9180000"/>
                </a:lnTo>
                <a:cubicBezTo>
                  <a:pt x="2055013" y="9180000"/>
                  <a:pt x="0" y="7124987"/>
                  <a:pt x="0" y="4590000"/>
                </a:cubicBezTo>
                <a:cubicBezTo>
                  <a:pt x="0" y="2055014"/>
                  <a:pt x="2055013" y="0"/>
                  <a:pt x="4590000" y="0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186" name="Freeform 185"/>
          <p:cNvSpPr>
            <a:spLocks noChangeAspect="1"/>
          </p:cNvSpPr>
          <p:nvPr userDrawn="1"/>
        </p:nvSpPr>
        <p:spPr>
          <a:xfrm>
            <a:off x="1826000" y="1391863"/>
            <a:ext cx="2025000" cy="4050000"/>
          </a:xfrm>
          <a:custGeom>
            <a:avLst/>
            <a:gdLst>
              <a:gd name="connsiteX0" fmla="*/ 4050000 w 4050000"/>
              <a:gd name="connsiteY0" fmla="*/ 0 h 8100000"/>
              <a:gd name="connsiteX1" fmla="*/ 4050000 w 4050000"/>
              <a:gd name="connsiteY1" fmla="*/ 358584 h 8100000"/>
              <a:gd name="connsiteX2" fmla="*/ 360000 w 4050000"/>
              <a:gd name="connsiteY2" fmla="*/ 4048585 h 8100000"/>
              <a:gd name="connsiteX3" fmla="*/ 4050000 w 4050000"/>
              <a:gd name="connsiteY3" fmla="*/ 7738584 h 8100000"/>
              <a:gd name="connsiteX4" fmla="*/ 4050000 w 4050000"/>
              <a:gd name="connsiteY4" fmla="*/ 8100000 h 8100000"/>
              <a:gd name="connsiteX5" fmla="*/ 0 w 4050000"/>
              <a:gd name="connsiteY5" fmla="*/ 4050000 h 8100000"/>
              <a:gd name="connsiteX6" fmla="*/ 4050000 w 4050000"/>
              <a:gd name="connsiteY6" fmla="*/ 0 h 81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50000" h="8100000">
                <a:moveTo>
                  <a:pt x="4050000" y="0"/>
                </a:moveTo>
                <a:lnTo>
                  <a:pt x="4050000" y="358584"/>
                </a:lnTo>
                <a:cubicBezTo>
                  <a:pt x="2012069" y="358584"/>
                  <a:pt x="360000" y="2010654"/>
                  <a:pt x="360000" y="4048585"/>
                </a:cubicBezTo>
                <a:cubicBezTo>
                  <a:pt x="360000" y="6086515"/>
                  <a:pt x="2012069" y="7738584"/>
                  <a:pt x="4050000" y="7738584"/>
                </a:cubicBezTo>
                <a:lnTo>
                  <a:pt x="4050000" y="8100000"/>
                </a:lnTo>
                <a:cubicBezTo>
                  <a:pt x="1813247" y="8100000"/>
                  <a:pt x="0" y="6286753"/>
                  <a:pt x="0" y="4050000"/>
                </a:cubicBezTo>
                <a:cubicBezTo>
                  <a:pt x="0" y="1813247"/>
                  <a:pt x="1813247" y="0"/>
                  <a:pt x="405000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184" name="Freeform 183"/>
          <p:cNvSpPr>
            <a:spLocks noChangeAspect="1"/>
          </p:cNvSpPr>
          <p:nvPr userDrawn="1"/>
        </p:nvSpPr>
        <p:spPr>
          <a:xfrm>
            <a:off x="2096000" y="1661863"/>
            <a:ext cx="1755000" cy="3510000"/>
          </a:xfrm>
          <a:custGeom>
            <a:avLst/>
            <a:gdLst>
              <a:gd name="connsiteX0" fmla="*/ 3510000 w 3510000"/>
              <a:gd name="connsiteY0" fmla="*/ 0 h 7020000"/>
              <a:gd name="connsiteX1" fmla="*/ 3510000 w 3510000"/>
              <a:gd name="connsiteY1" fmla="*/ 360310 h 7020000"/>
              <a:gd name="connsiteX2" fmla="*/ 3503862 w 3510000"/>
              <a:gd name="connsiteY2" fmla="*/ 360000 h 7020000"/>
              <a:gd name="connsiteX3" fmla="*/ 353863 w 3510000"/>
              <a:gd name="connsiteY3" fmla="*/ 3510000 h 7020000"/>
              <a:gd name="connsiteX4" fmla="*/ 3503862 w 3510000"/>
              <a:gd name="connsiteY4" fmla="*/ 6660000 h 7020000"/>
              <a:gd name="connsiteX5" fmla="*/ 3510000 w 3510000"/>
              <a:gd name="connsiteY5" fmla="*/ 6659690 h 7020000"/>
              <a:gd name="connsiteX6" fmla="*/ 3510000 w 3510000"/>
              <a:gd name="connsiteY6" fmla="*/ 7020000 h 7020000"/>
              <a:gd name="connsiteX7" fmla="*/ 0 w 3510000"/>
              <a:gd name="connsiteY7" fmla="*/ 3510000 h 7020000"/>
              <a:gd name="connsiteX8" fmla="*/ 3510000 w 3510000"/>
              <a:gd name="connsiteY8" fmla="*/ 0 h 70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10000" h="7020000">
                <a:moveTo>
                  <a:pt x="3510000" y="0"/>
                </a:moveTo>
                <a:lnTo>
                  <a:pt x="3510000" y="360310"/>
                </a:lnTo>
                <a:lnTo>
                  <a:pt x="3503862" y="360000"/>
                </a:lnTo>
                <a:cubicBezTo>
                  <a:pt x="1764165" y="360000"/>
                  <a:pt x="353863" y="1770304"/>
                  <a:pt x="353863" y="3510000"/>
                </a:cubicBezTo>
                <a:cubicBezTo>
                  <a:pt x="353863" y="5249697"/>
                  <a:pt x="1764165" y="6660000"/>
                  <a:pt x="3503862" y="6660000"/>
                </a:cubicBezTo>
                <a:lnTo>
                  <a:pt x="3510000" y="6659690"/>
                </a:lnTo>
                <a:lnTo>
                  <a:pt x="3510000" y="7020000"/>
                </a:lnTo>
                <a:cubicBezTo>
                  <a:pt x="1571481" y="7020000"/>
                  <a:pt x="0" y="5448519"/>
                  <a:pt x="0" y="3510000"/>
                </a:cubicBezTo>
                <a:cubicBezTo>
                  <a:pt x="0" y="1571482"/>
                  <a:pt x="1571481" y="0"/>
                  <a:pt x="3510000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182" name="Freeform 181"/>
          <p:cNvSpPr>
            <a:spLocks noChangeAspect="1"/>
          </p:cNvSpPr>
          <p:nvPr userDrawn="1"/>
        </p:nvSpPr>
        <p:spPr>
          <a:xfrm>
            <a:off x="2366000" y="1931155"/>
            <a:ext cx="1485000" cy="2970000"/>
          </a:xfrm>
          <a:custGeom>
            <a:avLst/>
            <a:gdLst>
              <a:gd name="connsiteX0" fmla="*/ 2970000 w 2970000"/>
              <a:gd name="connsiteY0" fmla="*/ 0 h 5940000"/>
              <a:gd name="connsiteX1" fmla="*/ 2970000 w 2970000"/>
              <a:gd name="connsiteY1" fmla="*/ 360000 h 5940000"/>
              <a:gd name="connsiteX2" fmla="*/ 360001 w 2970000"/>
              <a:gd name="connsiteY2" fmla="*/ 2970000 h 5940000"/>
              <a:gd name="connsiteX3" fmla="*/ 2970000 w 2970000"/>
              <a:gd name="connsiteY3" fmla="*/ 5580000 h 5940000"/>
              <a:gd name="connsiteX4" fmla="*/ 2970000 w 2970000"/>
              <a:gd name="connsiteY4" fmla="*/ 5940000 h 5940000"/>
              <a:gd name="connsiteX5" fmla="*/ 0 w 2970000"/>
              <a:gd name="connsiteY5" fmla="*/ 2970000 h 5940000"/>
              <a:gd name="connsiteX6" fmla="*/ 2970000 w 2970000"/>
              <a:gd name="connsiteY6" fmla="*/ 0 h 59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0000" h="5940000">
                <a:moveTo>
                  <a:pt x="2970000" y="0"/>
                </a:moveTo>
                <a:lnTo>
                  <a:pt x="2970000" y="360000"/>
                </a:lnTo>
                <a:cubicBezTo>
                  <a:pt x="1528537" y="360000"/>
                  <a:pt x="360001" y="1528537"/>
                  <a:pt x="360001" y="2970000"/>
                </a:cubicBezTo>
                <a:cubicBezTo>
                  <a:pt x="360001" y="4411463"/>
                  <a:pt x="1528537" y="5580000"/>
                  <a:pt x="2970000" y="5580000"/>
                </a:cubicBezTo>
                <a:lnTo>
                  <a:pt x="2970000" y="5940000"/>
                </a:lnTo>
                <a:cubicBezTo>
                  <a:pt x="1329714" y="5940000"/>
                  <a:pt x="0" y="4610286"/>
                  <a:pt x="0" y="2970000"/>
                </a:cubicBezTo>
                <a:cubicBezTo>
                  <a:pt x="0" y="1329715"/>
                  <a:pt x="1329714" y="0"/>
                  <a:pt x="2970000" y="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194" name="Text Placeholder 654"/>
          <p:cNvSpPr>
            <a:spLocks noGrp="1"/>
          </p:cNvSpPr>
          <p:nvPr>
            <p:ph type="body" sz="quarter" idx="141"/>
          </p:nvPr>
        </p:nvSpPr>
        <p:spPr>
          <a:xfrm>
            <a:off x="3851000" y="1931155"/>
            <a:ext cx="2245000" cy="180000"/>
          </a:xfrm>
          <a:custGeom>
            <a:avLst/>
            <a:gdLst>
              <a:gd name="connsiteX0" fmla="*/ 0 w 6096010"/>
              <a:gd name="connsiteY0" fmla="*/ 0 h 13715914"/>
              <a:gd name="connsiteX1" fmla="*/ 6096010 w 6096010"/>
              <a:gd name="connsiteY1" fmla="*/ 0 h 13715914"/>
              <a:gd name="connsiteX2" fmla="*/ 6096010 w 6096010"/>
              <a:gd name="connsiteY2" fmla="*/ 13715914 h 13715914"/>
              <a:gd name="connsiteX3" fmla="*/ 0 w 6096010"/>
              <a:gd name="connsiteY3" fmla="*/ 13715914 h 1371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10" h="13715914">
                <a:moveTo>
                  <a:pt x="0" y="0"/>
                </a:moveTo>
                <a:lnTo>
                  <a:pt x="6096010" y="0"/>
                </a:lnTo>
                <a:lnTo>
                  <a:pt x="6096010" y="13715914"/>
                </a:lnTo>
                <a:lnTo>
                  <a:pt x="0" y="13715914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8100">
            <a:noFill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1200" spc="0" baseline="0" dirty="0">
                <a:noFill/>
                <a:ea typeface="Work Sans"/>
                <a:cs typeface="Work Sans"/>
              </a:defRPr>
            </a:lvl1pPr>
          </a:lstStyle>
          <a:p>
            <a:pPr lvl="0" defTabSz="914400">
              <a:lnSpc>
                <a:spcPct val="150000"/>
              </a:lnSpc>
              <a:spcBef>
                <a:spcPts val="1000"/>
              </a:spcBef>
            </a:pPr>
            <a:endParaRPr lang="en-US" dirty="0"/>
          </a:p>
        </p:txBody>
      </p:sp>
      <p:sp>
        <p:nvSpPr>
          <p:cNvPr id="195" name="Текст 7"/>
          <p:cNvSpPr>
            <a:spLocks noGrp="1"/>
          </p:cNvSpPr>
          <p:nvPr>
            <p:ph type="body" sz="quarter" idx="152" hasCustomPrompt="1"/>
          </p:nvPr>
        </p:nvSpPr>
        <p:spPr>
          <a:xfrm>
            <a:off x="4608287" y="2286347"/>
            <a:ext cx="955676" cy="352592"/>
          </a:xfrm>
          <a:prstGeom prst="rect">
            <a:avLst/>
          </a:prstGeom>
        </p:spPr>
        <p:txBody>
          <a:bodyPr lIns="121917" tIns="0" rIns="121917" bIns="60958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en-US" sz="900" b="0" i="0" spc="0" baseline="0" smtClean="0">
                <a:solidFill>
                  <a:schemeClr val="tx1">
                    <a:lumMod val="95000"/>
                    <a:lumOff val="5000"/>
                    <a:alpha val="40000"/>
                  </a:schemeClr>
                </a:solidFill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Small Caption here</a:t>
            </a:r>
            <a:endParaRPr lang="en-US" dirty="0"/>
          </a:p>
        </p:txBody>
      </p:sp>
      <p:sp>
        <p:nvSpPr>
          <p:cNvPr id="196" name="Text Placeholder 654"/>
          <p:cNvSpPr>
            <a:spLocks noGrp="1"/>
          </p:cNvSpPr>
          <p:nvPr>
            <p:ph type="body" sz="quarter" idx="153"/>
          </p:nvPr>
        </p:nvSpPr>
        <p:spPr>
          <a:xfrm>
            <a:off x="3851000" y="1661863"/>
            <a:ext cx="4277000" cy="180000"/>
          </a:xfrm>
          <a:custGeom>
            <a:avLst/>
            <a:gdLst>
              <a:gd name="connsiteX0" fmla="*/ 0 w 6096010"/>
              <a:gd name="connsiteY0" fmla="*/ 0 h 13715914"/>
              <a:gd name="connsiteX1" fmla="*/ 6096010 w 6096010"/>
              <a:gd name="connsiteY1" fmla="*/ 0 h 13715914"/>
              <a:gd name="connsiteX2" fmla="*/ 6096010 w 6096010"/>
              <a:gd name="connsiteY2" fmla="*/ 13715914 h 13715914"/>
              <a:gd name="connsiteX3" fmla="*/ 0 w 6096010"/>
              <a:gd name="connsiteY3" fmla="*/ 13715914 h 1371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10" h="13715914">
                <a:moveTo>
                  <a:pt x="0" y="0"/>
                </a:moveTo>
                <a:lnTo>
                  <a:pt x="6096010" y="0"/>
                </a:lnTo>
                <a:lnTo>
                  <a:pt x="6096010" y="13715914"/>
                </a:lnTo>
                <a:lnTo>
                  <a:pt x="0" y="13715914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38100">
            <a:noFill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1200" spc="0" baseline="0" dirty="0">
                <a:noFill/>
                <a:ea typeface="Work Sans"/>
                <a:cs typeface="Work Sans"/>
              </a:defRPr>
            </a:lvl1pPr>
          </a:lstStyle>
          <a:p>
            <a:pPr lvl="0" defTabSz="914400">
              <a:lnSpc>
                <a:spcPct val="150000"/>
              </a:lnSpc>
              <a:spcBef>
                <a:spcPts val="1000"/>
              </a:spcBef>
            </a:pPr>
            <a:endParaRPr lang="en-US" dirty="0"/>
          </a:p>
        </p:txBody>
      </p:sp>
      <p:sp>
        <p:nvSpPr>
          <p:cNvPr id="197" name="Text Placeholder 654"/>
          <p:cNvSpPr>
            <a:spLocks noGrp="1"/>
          </p:cNvSpPr>
          <p:nvPr>
            <p:ph type="body" sz="quarter" idx="154"/>
          </p:nvPr>
        </p:nvSpPr>
        <p:spPr>
          <a:xfrm>
            <a:off x="3851000" y="1391863"/>
            <a:ext cx="3261000" cy="179208"/>
          </a:xfrm>
          <a:custGeom>
            <a:avLst/>
            <a:gdLst>
              <a:gd name="connsiteX0" fmla="*/ 0 w 6096010"/>
              <a:gd name="connsiteY0" fmla="*/ 0 h 13715914"/>
              <a:gd name="connsiteX1" fmla="*/ 6096010 w 6096010"/>
              <a:gd name="connsiteY1" fmla="*/ 0 h 13715914"/>
              <a:gd name="connsiteX2" fmla="*/ 6096010 w 6096010"/>
              <a:gd name="connsiteY2" fmla="*/ 13715914 h 13715914"/>
              <a:gd name="connsiteX3" fmla="*/ 0 w 6096010"/>
              <a:gd name="connsiteY3" fmla="*/ 13715914 h 1371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10" h="13715914">
                <a:moveTo>
                  <a:pt x="0" y="0"/>
                </a:moveTo>
                <a:lnTo>
                  <a:pt x="6096010" y="0"/>
                </a:lnTo>
                <a:lnTo>
                  <a:pt x="6096010" y="13715914"/>
                </a:lnTo>
                <a:lnTo>
                  <a:pt x="0" y="13715914"/>
                </a:lnTo>
                <a:close/>
              </a:path>
            </a:pathLst>
          </a:custGeom>
          <a:solidFill>
            <a:schemeClr val="tx2"/>
          </a:solidFill>
          <a:ln w="38100">
            <a:noFill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1200" spc="0" baseline="0" dirty="0">
                <a:noFill/>
                <a:ea typeface="Work Sans"/>
                <a:cs typeface="Work Sans"/>
              </a:defRPr>
            </a:lvl1pPr>
          </a:lstStyle>
          <a:p>
            <a:pPr lvl="0" defTabSz="914400">
              <a:lnSpc>
                <a:spcPct val="150000"/>
              </a:lnSpc>
              <a:spcBef>
                <a:spcPts val="1000"/>
              </a:spcBef>
            </a:pPr>
            <a:endParaRPr lang="en-US" dirty="0"/>
          </a:p>
        </p:txBody>
      </p:sp>
      <p:sp>
        <p:nvSpPr>
          <p:cNvPr id="198" name="Text Placeholder 654"/>
          <p:cNvSpPr>
            <a:spLocks noGrp="1"/>
          </p:cNvSpPr>
          <p:nvPr>
            <p:ph type="body" sz="quarter" idx="155"/>
          </p:nvPr>
        </p:nvSpPr>
        <p:spPr>
          <a:xfrm>
            <a:off x="3851000" y="1121863"/>
            <a:ext cx="5293000" cy="179208"/>
          </a:xfrm>
          <a:custGeom>
            <a:avLst/>
            <a:gdLst>
              <a:gd name="connsiteX0" fmla="*/ 0 w 6096010"/>
              <a:gd name="connsiteY0" fmla="*/ 0 h 13715914"/>
              <a:gd name="connsiteX1" fmla="*/ 6096010 w 6096010"/>
              <a:gd name="connsiteY1" fmla="*/ 0 h 13715914"/>
              <a:gd name="connsiteX2" fmla="*/ 6096010 w 6096010"/>
              <a:gd name="connsiteY2" fmla="*/ 13715914 h 13715914"/>
              <a:gd name="connsiteX3" fmla="*/ 0 w 6096010"/>
              <a:gd name="connsiteY3" fmla="*/ 13715914 h 1371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10" h="13715914">
                <a:moveTo>
                  <a:pt x="0" y="0"/>
                </a:moveTo>
                <a:lnTo>
                  <a:pt x="6096010" y="0"/>
                </a:lnTo>
                <a:lnTo>
                  <a:pt x="6096010" y="13715914"/>
                </a:lnTo>
                <a:lnTo>
                  <a:pt x="0" y="13715914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38100">
            <a:noFill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1200" spc="0" baseline="0" dirty="0">
                <a:noFill/>
                <a:ea typeface="Work Sans"/>
                <a:cs typeface="Work Sans"/>
              </a:defRPr>
            </a:lvl1pPr>
          </a:lstStyle>
          <a:p>
            <a:pPr lvl="0" defTabSz="914400">
              <a:lnSpc>
                <a:spcPct val="150000"/>
              </a:lnSpc>
              <a:spcBef>
                <a:spcPts val="1000"/>
              </a:spcBef>
            </a:pPr>
            <a:endParaRPr lang="en-US" dirty="0"/>
          </a:p>
        </p:txBody>
      </p:sp>
      <p:sp>
        <p:nvSpPr>
          <p:cNvPr id="199" name="Text Placeholder 654"/>
          <p:cNvSpPr>
            <a:spLocks noGrp="1"/>
          </p:cNvSpPr>
          <p:nvPr>
            <p:ph type="body" sz="quarter" idx="156"/>
          </p:nvPr>
        </p:nvSpPr>
        <p:spPr>
          <a:xfrm>
            <a:off x="3851001" y="851821"/>
            <a:ext cx="3776257" cy="180000"/>
          </a:xfrm>
          <a:custGeom>
            <a:avLst/>
            <a:gdLst>
              <a:gd name="connsiteX0" fmla="*/ 0 w 6096010"/>
              <a:gd name="connsiteY0" fmla="*/ 0 h 13715914"/>
              <a:gd name="connsiteX1" fmla="*/ 6096010 w 6096010"/>
              <a:gd name="connsiteY1" fmla="*/ 0 h 13715914"/>
              <a:gd name="connsiteX2" fmla="*/ 6096010 w 6096010"/>
              <a:gd name="connsiteY2" fmla="*/ 13715914 h 13715914"/>
              <a:gd name="connsiteX3" fmla="*/ 0 w 6096010"/>
              <a:gd name="connsiteY3" fmla="*/ 13715914 h 1371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10" h="13715914">
                <a:moveTo>
                  <a:pt x="0" y="0"/>
                </a:moveTo>
                <a:lnTo>
                  <a:pt x="6096010" y="0"/>
                </a:lnTo>
                <a:lnTo>
                  <a:pt x="6096010" y="13715914"/>
                </a:lnTo>
                <a:lnTo>
                  <a:pt x="0" y="13715914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38100">
            <a:noFill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1200" spc="0" baseline="0" dirty="0">
                <a:noFill/>
                <a:ea typeface="Work Sans"/>
                <a:cs typeface="Work Sans"/>
              </a:defRPr>
            </a:lvl1pPr>
          </a:lstStyle>
          <a:p>
            <a:pPr lvl="0" defTabSz="914400">
              <a:lnSpc>
                <a:spcPct val="150000"/>
              </a:lnSpc>
              <a:spcBef>
                <a:spcPts val="1000"/>
              </a:spcBef>
            </a:pPr>
            <a:endParaRPr lang="en-US" dirty="0"/>
          </a:p>
        </p:txBody>
      </p:sp>
      <p:sp>
        <p:nvSpPr>
          <p:cNvPr id="200" name="Text Placeholder 654"/>
          <p:cNvSpPr>
            <a:spLocks noGrp="1"/>
          </p:cNvSpPr>
          <p:nvPr>
            <p:ph type="body" sz="quarter" idx="157"/>
          </p:nvPr>
        </p:nvSpPr>
        <p:spPr>
          <a:xfrm>
            <a:off x="3851002" y="581863"/>
            <a:ext cx="2745743" cy="180000"/>
          </a:xfrm>
          <a:custGeom>
            <a:avLst/>
            <a:gdLst>
              <a:gd name="connsiteX0" fmla="*/ 0 w 6096010"/>
              <a:gd name="connsiteY0" fmla="*/ 0 h 13715914"/>
              <a:gd name="connsiteX1" fmla="*/ 6096010 w 6096010"/>
              <a:gd name="connsiteY1" fmla="*/ 0 h 13715914"/>
              <a:gd name="connsiteX2" fmla="*/ 6096010 w 6096010"/>
              <a:gd name="connsiteY2" fmla="*/ 13715914 h 13715914"/>
              <a:gd name="connsiteX3" fmla="*/ 0 w 6096010"/>
              <a:gd name="connsiteY3" fmla="*/ 13715914 h 1371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10" h="13715914">
                <a:moveTo>
                  <a:pt x="0" y="0"/>
                </a:moveTo>
                <a:lnTo>
                  <a:pt x="6096010" y="0"/>
                </a:lnTo>
                <a:lnTo>
                  <a:pt x="6096010" y="13715914"/>
                </a:lnTo>
                <a:lnTo>
                  <a:pt x="0" y="1371591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38100">
            <a:noFill/>
          </a:ln>
          <a:effectLst/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1200" spc="0" baseline="0" dirty="0">
                <a:noFill/>
                <a:ea typeface="Work Sans"/>
                <a:cs typeface="Work Sans"/>
              </a:defRPr>
            </a:lvl1pPr>
          </a:lstStyle>
          <a:p>
            <a:pPr lvl="0" defTabSz="914400">
              <a:lnSpc>
                <a:spcPct val="150000"/>
              </a:lnSpc>
              <a:spcBef>
                <a:spcPts val="1000"/>
              </a:spcBef>
            </a:pPr>
            <a:endParaRPr lang="en-US" dirty="0"/>
          </a:p>
        </p:txBody>
      </p:sp>
      <p:sp>
        <p:nvSpPr>
          <p:cNvPr id="201" name="Текст 7"/>
          <p:cNvSpPr>
            <a:spLocks noGrp="1"/>
          </p:cNvSpPr>
          <p:nvPr>
            <p:ph type="body" sz="quarter" idx="158" hasCustomPrompt="1"/>
          </p:nvPr>
        </p:nvSpPr>
        <p:spPr>
          <a:xfrm>
            <a:off x="5624286" y="2286347"/>
            <a:ext cx="955676" cy="352592"/>
          </a:xfrm>
          <a:prstGeom prst="rect">
            <a:avLst/>
          </a:prstGeom>
        </p:spPr>
        <p:txBody>
          <a:bodyPr lIns="121917" tIns="0" rIns="121917" bIns="60958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en-US" sz="900" b="0" i="0" spc="0" baseline="0" smtClean="0">
                <a:solidFill>
                  <a:schemeClr val="tx1">
                    <a:lumMod val="95000"/>
                    <a:lumOff val="5000"/>
                    <a:alpha val="40000"/>
                  </a:schemeClr>
                </a:solidFill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Small Caption here</a:t>
            </a:r>
            <a:endParaRPr lang="en-US" dirty="0"/>
          </a:p>
        </p:txBody>
      </p:sp>
      <p:sp>
        <p:nvSpPr>
          <p:cNvPr id="202" name="Текст 7"/>
          <p:cNvSpPr>
            <a:spLocks noGrp="1"/>
          </p:cNvSpPr>
          <p:nvPr>
            <p:ph type="body" sz="quarter" idx="159" hasCustomPrompt="1"/>
          </p:nvPr>
        </p:nvSpPr>
        <p:spPr>
          <a:xfrm>
            <a:off x="6635295" y="2286347"/>
            <a:ext cx="955676" cy="352592"/>
          </a:xfrm>
          <a:prstGeom prst="rect">
            <a:avLst/>
          </a:prstGeom>
        </p:spPr>
        <p:txBody>
          <a:bodyPr lIns="121917" tIns="0" rIns="121917" bIns="60958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en-US" sz="900" b="0" i="0" spc="0" baseline="0" smtClean="0">
                <a:solidFill>
                  <a:schemeClr val="tx1">
                    <a:lumMod val="95000"/>
                    <a:lumOff val="5000"/>
                    <a:alpha val="40000"/>
                  </a:schemeClr>
                </a:solidFill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Small Caption here</a:t>
            </a:r>
            <a:endParaRPr lang="en-US" dirty="0"/>
          </a:p>
        </p:txBody>
      </p:sp>
      <p:sp>
        <p:nvSpPr>
          <p:cNvPr id="203" name="Текст 7"/>
          <p:cNvSpPr>
            <a:spLocks noGrp="1"/>
          </p:cNvSpPr>
          <p:nvPr>
            <p:ph type="body" sz="quarter" idx="160" hasCustomPrompt="1"/>
          </p:nvPr>
        </p:nvSpPr>
        <p:spPr>
          <a:xfrm>
            <a:off x="7656286" y="2286347"/>
            <a:ext cx="955676" cy="352592"/>
          </a:xfrm>
          <a:prstGeom prst="rect">
            <a:avLst/>
          </a:prstGeom>
        </p:spPr>
        <p:txBody>
          <a:bodyPr lIns="121917" tIns="0" rIns="121917" bIns="60958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en-US" sz="900" b="0" i="0" spc="0" baseline="0" smtClean="0">
                <a:solidFill>
                  <a:schemeClr val="tx1">
                    <a:lumMod val="95000"/>
                    <a:lumOff val="5000"/>
                    <a:alpha val="40000"/>
                  </a:schemeClr>
                </a:solidFill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Small Caption here</a:t>
            </a:r>
            <a:endParaRPr lang="en-US" dirty="0"/>
          </a:p>
        </p:txBody>
      </p:sp>
      <p:sp>
        <p:nvSpPr>
          <p:cNvPr id="204" name="Текст 7"/>
          <p:cNvSpPr>
            <a:spLocks noGrp="1"/>
          </p:cNvSpPr>
          <p:nvPr>
            <p:ph type="body" sz="quarter" idx="161" hasCustomPrompt="1"/>
          </p:nvPr>
        </p:nvSpPr>
        <p:spPr>
          <a:xfrm>
            <a:off x="8671154" y="2286347"/>
            <a:ext cx="955676" cy="352592"/>
          </a:xfrm>
          <a:prstGeom prst="rect">
            <a:avLst/>
          </a:prstGeom>
        </p:spPr>
        <p:txBody>
          <a:bodyPr lIns="121917" tIns="0" rIns="121917" bIns="60958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en-US" sz="900" b="0" i="0" spc="0" baseline="0" smtClean="0">
                <a:solidFill>
                  <a:schemeClr val="tx1">
                    <a:lumMod val="95000"/>
                    <a:lumOff val="5000"/>
                    <a:alpha val="40000"/>
                  </a:schemeClr>
                </a:solidFill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Small Caption here</a:t>
            </a:r>
            <a:endParaRPr lang="en-US" dirty="0"/>
          </a:p>
        </p:txBody>
      </p:sp>
      <p:sp>
        <p:nvSpPr>
          <p:cNvPr id="205" name="Shape 17"/>
          <p:cNvSpPr>
            <a:spLocks noGrp="1"/>
          </p:cNvSpPr>
          <p:nvPr>
            <p:ph type="body" sz="quarter" idx="147" hasCustomPrompt="1"/>
          </p:nvPr>
        </p:nvSpPr>
        <p:spPr>
          <a:xfrm>
            <a:off x="4064002" y="4693921"/>
            <a:ext cx="1935805" cy="233905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 algn="l" defTabSz="914400">
              <a:lnSpc>
                <a:spcPct val="100000"/>
              </a:lnSpc>
              <a:spcBef>
                <a:spcPts val="0"/>
              </a:spcBef>
              <a:defRPr sz="1600" b="0" kern="600" spc="0" baseline="0">
                <a:solidFill>
                  <a:schemeClr val="tx1"/>
                </a:solidFill>
                <a:latin typeface="+mj-lt"/>
                <a:ea typeface="Work Sans"/>
                <a:cs typeface="Work Sans"/>
                <a:sym typeface="Work Sans"/>
              </a:defRPr>
            </a:lvl1pPr>
          </a:lstStyle>
          <a:p>
            <a:r>
              <a:rPr lang="nl-NL" dirty="0"/>
              <a:t>H3 TITLE HERE</a:t>
            </a:r>
            <a:endParaRPr lang="nl-NL" dirty="0"/>
          </a:p>
        </p:txBody>
      </p:sp>
      <p:sp>
        <p:nvSpPr>
          <p:cNvPr id="365" name="Shape 17"/>
          <p:cNvSpPr>
            <a:spLocks noGrp="1"/>
          </p:cNvSpPr>
          <p:nvPr>
            <p:ph type="body" sz="quarter" idx="162" hasCustomPrompt="1"/>
          </p:nvPr>
        </p:nvSpPr>
        <p:spPr>
          <a:xfrm>
            <a:off x="4064000" y="4966550"/>
            <a:ext cx="1935805" cy="233905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 algn="l" defTabSz="914400">
              <a:lnSpc>
                <a:spcPct val="100000"/>
              </a:lnSpc>
              <a:spcBef>
                <a:spcPts val="0"/>
              </a:spcBef>
              <a:defRPr sz="1600" b="0" kern="600" spc="0" baseline="0">
                <a:solidFill>
                  <a:schemeClr val="tx1"/>
                </a:solidFill>
                <a:latin typeface="+mj-lt"/>
                <a:ea typeface="Work Sans"/>
                <a:cs typeface="Work Sans"/>
                <a:sym typeface="Work Sans"/>
              </a:defRPr>
            </a:lvl1pPr>
          </a:lstStyle>
          <a:p>
            <a:r>
              <a:rPr lang="nl-NL" dirty="0"/>
              <a:t>H3 TITLE HERE</a:t>
            </a:r>
            <a:endParaRPr lang="nl-NL" dirty="0"/>
          </a:p>
        </p:txBody>
      </p:sp>
      <p:sp>
        <p:nvSpPr>
          <p:cNvPr id="366" name="Shape 17"/>
          <p:cNvSpPr>
            <a:spLocks noGrp="1"/>
          </p:cNvSpPr>
          <p:nvPr>
            <p:ph type="body" sz="quarter" idx="163" hasCustomPrompt="1"/>
          </p:nvPr>
        </p:nvSpPr>
        <p:spPr>
          <a:xfrm>
            <a:off x="4064000" y="5239178"/>
            <a:ext cx="1935805" cy="233905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 algn="l" defTabSz="914400">
              <a:lnSpc>
                <a:spcPct val="100000"/>
              </a:lnSpc>
              <a:spcBef>
                <a:spcPts val="0"/>
              </a:spcBef>
              <a:defRPr sz="1600" b="0" kern="600" spc="0" baseline="0">
                <a:solidFill>
                  <a:schemeClr val="tx1"/>
                </a:solidFill>
                <a:latin typeface="+mj-lt"/>
                <a:ea typeface="Work Sans"/>
                <a:cs typeface="Work Sans"/>
                <a:sym typeface="Work Sans"/>
              </a:defRPr>
            </a:lvl1pPr>
          </a:lstStyle>
          <a:p>
            <a:r>
              <a:rPr lang="nl-NL" dirty="0"/>
              <a:t>H3 TITLE HERE</a:t>
            </a:r>
            <a:endParaRPr lang="nl-NL" dirty="0"/>
          </a:p>
        </p:txBody>
      </p:sp>
      <p:sp>
        <p:nvSpPr>
          <p:cNvPr id="367" name="Shape 17"/>
          <p:cNvSpPr>
            <a:spLocks noGrp="1"/>
          </p:cNvSpPr>
          <p:nvPr>
            <p:ph type="body" sz="quarter" idx="164" hasCustomPrompt="1"/>
          </p:nvPr>
        </p:nvSpPr>
        <p:spPr>
          <a:xfrm>
            <a:off x="4064000" y="5511808"/>
            <a:ext cx="1935805" cy="233905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 algn="l" defTabSz="914400">
              <a:lnSpc>
                <a:spcPct val="100000"/>
              </a:lnSpc>
              <a:spcBef>
                <a:spcPts val="0"/>
              </a:spcBef>
              <a:defRPr sz="1600" b="0" kern="600" spc="0" baseline="0">
                <a:solidFill>
                  <a:schemeClr val="tx1"/>
                </a:solidFill>
                <a:latin typeface="+mj-lt"/>
                <a:ea typeface="Work Sans"/>
                <a:cs typeface="Work Sans"/>
                <a:sym typeface="Work Sans"/>
              </a:defRPr>
            </a:lvl1pPr>
          </a:lstStyle>
          <a:p>
            <a:r>
              <a:rPr lang="nl-NL" dirty="0"/>
              <a:t>H3 TITLE HERE</a:t>
            </a:r>
            <a:endParaRPr lang="nl-NL" dirty="0"/>
          </a:p>
        </p:txBody>
      </p:sp>
      <p:sp>
        <p:nvSpPr>
          <p:cNvPr id="368" name="Shape 17"/>
          <p:cNvSpPr>
            <a:spLocks noGrp="1"/>
          </p:cNvSpPr>
          <p:nvPr>
            <p:ph type="body" sz="quarter" idx="165" hasCustomPrompt="1"/>
          </p:nvPr>
        </p:nvSpPr>
        <p:spPr>
          <a:xfrm>
            <a:off x="4064000" y="5784436"/>
            <a:ext cx="1935805" cy="233905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 algn="l" defTabSz="914400">
              <a:lnSpc>
                <a:spcPct val="100000"/>
              </a:lnSpc>
              <a:spcBef>
                <a:spcPts val="0"/>
              </a:spcBef>
              <a:defRPr sz="1600" b="0" kern="600" spc="0" baseline="0">
                <a:solidFill>
                  <a:schemeClr val="tx1"/>
                </a:solidFill>
                <a:latin typeface="+mj-lt"/>
                <a:ea typeface="Work Sans"/>
                <a:cs typeface="Work Sans"/>
                <a:sym typeface="Work Sans"/>
              </a:defRPr>
            </a:lvl1pPr>
          </a:lstStyle>
          <a:p>
            <a:r>
              <a:rPr lang="nl-NL" dirty="0"/>
              <a:t>H3 TITLE HERE</a:t>
            </a:r>
            <a:endParaRPr lang="nl-NL" dirty="0"/>
          </a:p>
        </p:txBody>
      </p:sp>
      <p:sp>
        <p:nvSpPr>
          <p:cNvPr id="369" name="Shape 17"/>
          <p:cNvSpPr>
            <a:spLocks noGrp="1"/>
          </p:cNvSpPr>
          <p:nvPr>
            <p:ph type="body" sz="quarter" idx="166" hasCustomPrompt="1"/>
          </p:nvPr>
        </p:nvSpPr>
        <p:spPr>
          <a:xfrm>
            <a:off x="4064000" y="6057064"/>
            <a:ext cx="1935805" cy="233905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 algn="l" defTabSz="914400">
              <a:lnSpc>
                <a:spcPct val="100000"/>
              </a:lnSpc>
              <a:spcBef>
                <a:spcPts val="0"/>
              </a:spcBef>
              <a:defRPr sz="1600" b="0" kern="600" spc="0" baseline="0">
                <a:solidFill>
                  <a:schemeClr val="tx1"/>
                </a:solidFill>
                <a:latin typeface="+mj-lt"/>
                <a:ea typeface="Work Sans"/>
                <a:cs typeface="Work Sans"/>
                <a:sym typeface="Work Sans"/>
              </a:defRPr>
            </a:lvl1pPr>
          </a:lstStyle>
          <a:p>
            <a:r>
              <a:rPr lang="nl-NL" dirty="0"/>
              <a:t>H3 TITLE HERE</a:t>
            </a:r>
            <a:endParaRPr lang="nl-NL" dirty="0"/>
          </a:p>
        </p:txBody>
      </p:sp>
      <p:sp>
        <p:nvSpPr>
          <p:cNvPr id="370" name="Shape 41"/>
          <p:cNvSpPr>
            <a:spLocks noGrp="1"/>
          </p:cNvSpPr>
          <p:nvPr>
            <p:ph type="body" sz="quarter" idx="167" hasCustomPrompt="1"/>
          </p:nvPr>
        </p:nvSpPr>
        <p:spPr>
          <a:xfrm>
            <a:off x="6113693" y="4692829"/>
            <a:ext cx="5062307" cy="159241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 defTabSz="914400">
              <a:lnSpc>
                <a:spcPct val="150000"/>
              </a:lnSpc>
              <a:spcBef>
                <a:spcPts val="1000"/>
              </a:spcBef>
              <a:defRPr sz="1200" spc="0" baseline="0">
                <a:solidFill>
                  <a:schemeClr val="tx1">
                    <a:alpha val="80000"/>
                  </a:schemeClr>
                </a:solidFill>
                <a:latin typeface="+mn-lt"/>
                <a:ea typeface="Work Sans"/>
                <a:cs typeface="Work Sans"/>
                <a:sym typeface="Work Sans"/>
              </a:defRPr>
            </a:lvl1pPr>
          </a:lstStyle>
          <a:p>
            <a:r>
              <a:rPr lang="en-US" dirty="0"/>
              <a:t>Write body text here</a:t>
            </a:r>
            <a:endParaRPr lang="en-US" dirty="0"/>
          </a:p>
        </p:txBody>
      </p:sp>
      <p:sp>
        <p:nvSpPr>
          <p:cNvPr id="535" name="Текст 7"/>
          <p:cNvSpPr>
            <a:spLocks noGrp="1"/>
          </p:cNvSpPr>
          <p:nvPr>
            <p:ph type="body" sz="quarter" idx="139" hasCustomPrompt="1"/>
          </p:nvPr>
        </p:nvSpPr>
        <p:spPr>
          <a:xfrm>
            <a:off x="6101970" y="2850031"/>
            <a:ext cx="5074031" cy="342303"/>
          </a:xfrm>
          <a:prstGeom prst="rect">
            <a:avLst/>
          </a:prstGeom>
        </p:spPr>
        <p:txBody>
          <a:bodyPr lIns="121917" tIns="0" rIns="121917" bIns="60958" anchor="t">
            <a:noAutofit/>
          </a:bodyPr>
          <a:lstStyle>
            <a:lvl1pPr algn="l">
              <a:lnSpc>
                <a:spcPct val="150000"/>
              </a:lnSpc>
              <a:spcBef>
                <a:spcPts val="0"/>
              </a:spcBef>
              <a:defRPr lang="en-US" sz="1100" b="0" i="0" spc="200" baseline="0" smtClean="0">
                <a:effectLst/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r>
              <a:rPr lang="en-US" dirty="0"/>
              <a:t>WRITE CAPTION HERE</a:t>
            </a:r>
            <a:endParaRPr lang="en-US" dirty="0"/>
          </a:p>
        </p:txBody>
      </p:sp>
      <p:sp>
        <p:nvSpPr>
          <p:cNvPr id="1016" name="Shape 17"/>
          <p:cNvSpPr>
            <a:spLocks noGrp="1"/>
          </p:cNvSpPr>
          <p:nvPr>
            <p:ph type="body" sz="quarter" idx="142" hasCustomPrompt="1"/>
          </p:nvPr>
        </p:nvSpPr>
        <p:spPr>
          <a:xfrm>
            <a:off x="6096002" y="3192334"/>
            <a:ext cx="5079999" cy="1299265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 algn="l" defTabSz="914400">
              <a:lnSpc>
                <a:spcPct val="100000"/>
              </a:lnSpc>
              <a:spcBef>
                <a:spcPts val="0"/>
              </a:spcBef>
              <a:defRPr sz="4800" b="1" spc="-100" baseline="0">
                <a:solidFill>
                  <a:schemeClr val="tx1"/>
                </a:solidFill>
                <a:latin typeface="+mj-lt"/>
                <a:ea typeface="Work Sans"/>
                <a:cs typeface="Work Sans"/>
                <a:sym typeface="Work Sans"/>
              </a:defRPr>
            </a:lvl1pPr>
          </a:lstStyle>
          <a:p>
            <a:r>
              <a:rPr lang="nl-NL" dirty="0"/>
              <a:t>H2 Title here</a:t>
            </a:r>
            <a:endParaRPr lang="nl-NL" dirty="0"/>
          </a:p>
        </p:txBody>
      </p:sp>
      <p:sp>
        <p:nvSpPr>
          <p:cNvPr id="30" name="Shape 58"/>
          <p:cNvSpPr>
            <a:spLocks noGrp="1"/>
          </p:cNvSpPr>
          <p:nvPr>
            <p:ph type="sldNum" sz="quarter" idx="2"/>
          </p:nvPr>
        </p:nvSpPr>
        <p:spPr>
          <a:xfrm>
            <a:off x="0" y="6285244"/>
            <a:ext cx="1016000" cy="572715"/>
          </a:xfrm>
          <a:prstGeom prst="rect">
            <a:avLst/>
          </a:prstGeom>
        </p:spPr>
        <p:txBody>
          <a:bodyPr lIns="121917" tIns="60958" rIns="121917" bIns="60958" anchor="ctr" anchorCtr="0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uk-UA" smtClean="0"/>
            </a:fld>
            <a:endParaRPr lang="uk-UA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0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3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3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5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16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6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7_Devic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2_Infograph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1_Info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4_Content with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0_SWO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4.bin"/><Relationship Id="rId1" Type="http://schemas.openxmlformats.org/officeDocument/2006/relationships/tags" Target="../tags/tag21.xml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6.png"/><Relationship Id="rId3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5.bin"/><Relationship Id="rId1" Type="http://schemas.openxmlformats.org/officeDocument/2006/relationships/tags" Target="../tags/tag26.xml"/></Relationships>
</file>

<file path=ppt/slides/_rels/slide1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6.x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3" Type="http://schemas.openxmlformats.org/officeDocument/2006/relationships/tags" Target="../tags/tag29.xml"/><Relationship Id="rId2" Type="http://schemas.microsoft.com/office/2007/relationships/hdphoto" Target="../media/image8.wdp"/><Relationship Id="rId1" Type="http://schemas.openxmlformats.org/officeDocument/2006/relationships/image" Target="../media/image7.jpeg"/></Relationships>
</file>

<file path=ppt/slides/_rels/slide1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34.xml"/><Relationship Id="rId3" Type="http://schemas.openxmlformats.org/officeDocument/2006/relationships/image" Target="../media/image9.jpeg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6.bin"/><Relationship Id="rId1" Type="http://schemas.openxmlformats.org/officeDocument/2006/relationships/tags" Target="../tags/tag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0.xml"/><Relationship Id="rId4" Type="http://schemas.openxmlformats.org/officeDocument/2006/relationships/image" Target="../media/image2.png"/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jpe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0.xml"/><Relationship Id="rId3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tx2">
                <a:lumMod val="60000"/>
                <a:lumOff val="40000"/>
                <a:alpha val="57000"/>
              </a:schemeClr>
            </a:gs>
            <a:gs pos="0">
              <a:schemeClr val="tx2">
                <a:lumMod val="20000"/>
                <a:lumOff val="80000"/>
                <a:alpha val="0"/>
              </a:schemeClr>
            </a:gs>
          </a:gsLst>
          <a:lin ang="0" scaled="0"/>
        </a:gradFill>
        <a:effectLst/>
      </p:bgPr>
    </p:bg>
    <p:spTree>
      <p:nvGrpSpPr>
        <p:cNvPr id="1" name="iṥļ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877674" y="1306125"/>
            <a:ext cx="6388221" cy="3819942"/>
            <a:chOff x="2877674" y="1306125"/>
            <a:chExt cx="6388221" cy="3819942"/>
          </a:xfrm>
        </p:grpSpPr>
        <p:sp>
          <p:nvSpPr>
            <p:cNvPr id="12" name="îṡḻîdè"/>
            <p:cNvSpPr/>
            <p:nvPr userDrawn="1"/>
          </p:nvSpPr>
          <p:spPr>
            <a:xfrm rot="5772073">
              <a:off x="5493995" y="130612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6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îsḻíḍe"/>
            <p:cNvSpPr/>
            <p:nvPr userDrawn="1"/>
          </p:nvSpPr>
          <p:spPr>
            <a:xfrm rot="17450176">
              <a:off x="2877674" y="135416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4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6" name="组合 15"/>
          <p:cNvGrpSpPr/>
          <p:nvPr/>
        </p:nvGrpSpPr>
        <p:grpSpPr>
          <a:xfrm rot="16819500">
            <a:off x="11217593" y="532827"/>
            <a:ext cx="501013" cy="501013"/>
            <a:chOff x="3738861" y="1313527"/>
            <a:chExt cx="3771900" cy="3771900"/>
          </a:xfrm>
        </p:grpSpPr>
        <p:sp>
          <p:nvSpPr>
            <p:cNvPr id="17" name="îS1ïḋe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iślíḑè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rgbClr val="E8414C">
                    <a:alpha val="10000"/>
                  </a:srgb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îSļîdé"/>
          <p:cNvSpPr>
            <a:spLocks noGrp="1"/>
          </p:cNvSpPr>
          <p:nvPr>
            <p:ph type="body" sz="quarter" idx="10"/>
          </p:nvPr>
        </p:nvSpPr>
        <p:spPr>
          <a:xfrm>
            <a:off x="1373408" y="2618550"/>
            <a:ext cx="9445184" cy="1474043"/>
          </a:xfrm>
        </p:spPr>
        <p:txBody>
          <a:bodyPr/>
          <a:lstStyle/>
          <a:p>
            <a:pPr algn="ctr"/>
            <a:r>
              <a:rPr lang="zh-CN" altLang="en-US" sz="6600" b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仿牛客论坛项目汇报</a:t>
            </a:r>
            <a:endParaRPr lang="zh-CN" altLang="en-US" sz="6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iṣľîďe"/>
          <p:cNvSpPr>
            <a:spLocks noGrp="1"/>
          </p:cNvSpPr>
          <p:nvPr>
            <p:ph type="body" sz="quarter" idx="4294967295"/>
          </p:nvPr>
        </p:nvSpPr>
        <p:spPr>
          <a:xfrm>
            <a:off x="8721090" y="5926511"/>
            <a:ext cx="2747010" cy="296271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r">
              <a:buNone/>
            </a:pPr>
            <a:r>
              <a:rPr lang="zh-CN" alt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汇报人：李嘉兴</a:t>
            </a:r>
            <a:endParaRPr lang="zh-CN" altLang="en-US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9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66"/>
          <p:cNvSpPr/>
          <p:nvPr/>
        </p:nvSpPr>
        <p:spPr>
          <a:xfrm>
            <a:off x="1016000" y="0"/>
            <a:ext cx="11176000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16" name="Oval 162"/>
          <p:cNvSpPr>
            <a:spLocks noChangeAspect="1"/>
          </p:cNvSpPr>
          <p:nvPr/>
        </p:nvSpPr>
        <p:spPr>
          <a:xfrm>
            <a:off x="2200910" y="2399665"/>
            <a:ext cx="1863090" cy="1863090"/>
          </a:xfrm>
          <a:prstGeom prst="ellipse">
            <a:avLst/>
          </a:prstGeom>
          <a:solidFill>
            <a:schemeClr val="tx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500"/>
          </a:p>
        </p:txBody>
      </p:sp>
      <p:sp>
        <p:nvSpPr>
          <p:cNvPr id="17" name="Oval 163"/>
          <p:cNvSpPr>
            <a:spLocks noChangeAspect="1"/>
          </p:cNvSpPr>
          <p:nvPr/>
        </p:nvSpPr>
        <p:spPr>
          <a:xfrm>
            <a:off x="8006715" y="1856740"/>
            <a:ext cx="2948305" cy="2948305"/>
          </a:xfrm>
          <a:prstGeom prst="ellipse">
            <a:avLst/>
          </a:prstGeom>
          <a:solidFill>
            <a:schemeClr val="bg2">
              <a:lumMod val="2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500"/>
          </a:p>
        </p:txBody>
      </p:sp>
      <p:sp>
        <p:nvSpPr>
          <p:cNvPr id="19" name="Oval 165"/>
          <p:cNvSpPr>
            <a:spLocks noChangeAspect="1"/>
          </p:cNvSpPr>
          <p:nvPr/>
        </p:nvSpPr>
        <p:spPr>
          <a:xfrm>
            <a:off x="4789170" y="2024380"/>
            <a:ext cx="2614295" cy="2614295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50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2116676" y="3048547"/>
            <a:ext cx="2032000" cy="566479"/>
          </a:xfrm>
          <a:prstGeom prst="rect">
            <a:avLst/>
          </a:prstGeom>
        </p:spPr>
        <p:txBody>
          <a:bodyPr lIns="121917" tIns="60958" rIns="121917" bIns="60958">
            <a:normAutofit/>
          </a:bodyPr>
          <a:lstStyle/>
          <a:p>
            <a:pPr marL="0" indent="0" algn="ctr">
              <a:buNone/>
            </a:pPr>
            <a:r>
              <a:rPr lang="zh-CN" altLang="en-US" sz="2400"/>
              <a:t>环境风险</a:t>
            </a:r>
            <a:endParaRPr lang="zh-CN" altLang="en-US" sz="2400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4294967295"/>
          </p:nvPr>
        </p:nvSpPr>
        <p:spPr>
          <a:xfrm>
            <a:off x="2200910" y="4927600"/>
            <a:ext cx="2282825" cy="1562100"/>
          </a:xfrm>
          <a:prstGeom prst="rect">
            <a:avLst/>
          </a:prstGeom>
        </p:spPr>
        <p:txBody>
          <a:bodyPr lIns="121917" tIns="60958" rIns="121917" bIns="60958"/>
          <a:lstStyle/>
          <a:p>
            <a:pPr marL="0" indent="0" algn="l">
              <a:lnSpc>
                <a:spcPct val="150000"/>
              </a:lnSpc>
              <a:buNone/>
            </a:pPr>
            <a:r>
              <a:rPr lang="en-US" sz="1080" dirty="0">
                <a:solidFill>
                  <a:schemeClr val="accent5">
                    <a:lumMod val="75000"/>
                  </a:schemeClr>
                </a:solidFill>
              </a:rPr>
              <a:t>项目开发过程中，人员全程参与</a:t>
            </a:r>
            <a:endParaRPr lang="en-US" sz="1080" dirty="0">
              <a:solidFill>
                <a:schemeClr val="accent5">
                  <a:lumMod val="75000"/>
                </a:schemeClr>
              </a:solidFill>
            </a:endParaRPr>
          </a:p>
          <a:p>
            <a:pPr marL="0" indent="0" algn="l">
              <a:lnSpc>
                <a:spcPct val="150000"/>
              </a:lnSpc>
              <a:buNone/>
            </a:pPr>
            <a:r>
              <a:rPr lang="zh-CN" altLang="en-US" sz="1080" dirty="0">
                <a:solidFill>
                  <a:schemeClr val="accent5">
                    <a:lumMod val="75000"/>
                  </a:schemeClr>
                </a:solidFill>
              </a:rPr>
              <a:t>成员</a:t>
            </a:r>
            <a:r>
              <a:rPr lang="en-US" sz="1080" dirty="0">
                <a:solidFill>
                  <a:schemeClr val="accent5">
                    <a:lumMod val="75000"/>
                  </a:schemeClr>
                </a:solidFill>
              </a:rPr>
              <a:t>还有诸多其它任务</a:t>
            </a:r>
            <a:endParaRPr lang="en-US" sz="1080" dirty="0">
              <a:solidFill>
                <a:schemeClr val="accent5">
                  <a:lumMod val="75000"/>
                </a:schemeClr>
              </a:solidFill>
            </a:endParaRPr>
          </a:p>
          <a:p>
            <a:pPr marL="0" indent="0" algn="l">
              <a:lnSpc>
                <a:spcPct val="150000"/>
              </a:lnSpc>
              <a:buNone/>
            </a:pPr>
            <a:r>
              <a:rPr lang="en-US" sz="1080" dirty="0">
                <a:solidFill>
                  <a:schemeClr val="accent5">
                    <a:lumMod val="75000"/>
                  </a:schemeClr>
                </a:solidFill>
              </a:rPr>
              <a:t>不能全身心投入项目开发过程中</a:t>
            </a:r>
            <a:endParaRPr lang="en-US" sz="1080" dirty="0">
              <a:solidFill>
                <a:schemeClr val="accent5">
                  <a:lumMod val="75000"/>
                </a:schemeClr>
              </a:solidFill>
            </a:endParaRPr>
          </a:p>
          <a:p>
            <a:pPr marL="0" indent="0" algn="l">
              <a:lnSpc>
                <a:spcPct val="150000"/>
              </a:lnSpc>
              <a:buNone/>
            </a:pPr>
            <a:r>
              <a:rPr lang="en-US" sz="1080" dirty="0">
                <a:solidFill>
                  <a:schemeClr val="accent5">
                    <a:lumMod val="75000"/>
                  </a:schemeClr>
                </a:solidFill>
              </a:rPr>
              <a:t>把控人员投入项目的时间</a:t>
            </a:r>
            <a:endParaRPr lang="en-US" sz="108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094336" y="3048905"/>
            <a:ext cx="2032000" cy="566479"/>
          </a:xfrm>
          <a:prstGeom prst="rect">
            <a:avLst/>
          </a:prstGeom>
        </p:spPr>
        <p:txBody>
          <a:bodyPr lIns="121917" tIns="60958" rIns="121917" bIns="60958">
            <a:normAutofit/>
          </a:bodyPr>
          <a:lstStyle/>
          <a:p>
            <a:pPr marL="0" indent="0" algn="ctr">
              <a:buNone/>
            </a:pPr>
            <a:r>
              <a:rPr lang="zh-CN" altLang="en-US" sz="2400" dirty="0"/>
              <a:t>技术风险</a:t>
            </a:r>
            <a:endParaRPr lang="zh-CN" altLang="en-US" sz="2400" dirty="0"/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4294967295"/>
          </p:nvPr>
        </p:nvSpPr>
        <p:spPr>
          <a:xfrm>
            <a:off x="5086630" y="5132117"/>
            <a:ext cx="2039792" cy="1153083"/>
          </a:xfrm>
          <a:prstGeom prst="rect">
            <a:avLst/>
          </a:prstGeom>
        </p:spPr>
        <p:txBody>
          <a:bodyPr lIns="121917" tIns="60958" rIns="121917" bIns="60958">
            <a:normAutofit/>
          </a:bodyPr>
          <a:lstStyle/>
          <a:p>
            <a:pPr marL="0" algn="l">
              <a:lnSpc>
                <a:spcPct val="150000"/>
              </a:lnSpc>
              <a:buClrTx/>
              <a:buSzTx/>
              <a:buNone/>
            </a:pPr>
            <a:r>
              <a:rPr lang="en-US" sz="1080" dirty="0">
                <a:solidFill>
                  <a:schemeClr val="accent5">
                    <a:lumMod val="75000"/>
                  </a:schemeClr>
                </a:solidFill>
              </a:rPr>
              <a:t>需要项目人员熟练掌握前后端开发技术，对技术能力要求较高</a:t>
            </a:r>
            <a:endParaRPr lang="en-US" sz="108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4" name="Text Placeholder 63"/>
          <p:cNvSpPr>
            <a:spLocks noGrp="1"/>
          </p:cNvSpPr>
          <p:nvPr>
            <p:ph type="body" sz="quarter" idx="4294967295"/>
          </p:nvPr>
        </p:nvSpPr>
        <p:spPr>
          <a:xfrm>
            <a:off x="8319770" y="5132070"/>
            <a:ext cx="2493645" cy="1504950"/>
          </a:xfrm>
          <a:prstGeom prst="rect">
            <a:avLst/>
          </a:prstGeom>
        </p:spPr>
        <p:txBody>
          <a:bodyPr lIns="121917" tIns="60958" rIns="121917" bIns="60958"/>
          <a:lstStyle/>
          <a:p>
            <a:pPr marL="0" algn="l">
              <a:lnSpc>
                <a:spcPct val="150000"/>
              </a:lnSpc>
              <a:buClrTx/>
              <a:buSzTx/>
              <a:buNone/>
            </a:pPr>
            <a:r>
              <a:rPr lang="en-US" sz="1060" dirty="0">
                <a:solidFill>
                  <a:schemeClr val="accent5">
                    <a:lumMod val="75000"/>
                  </a:schemeClr>
                </a:solidFill>
              </a:rPr>
              <a:t>受上海疫情影响</a:t>
            </a:r>
            <a:endParaRPr lang="en-US" sz="1060" dirty="0">
              <a:solidFill>
                <a:schemeClr val="accent5">
                  <a:lumMod val="75000"/>
                </a:schemeClr>
              </a:solidFill>
            </a:endParaRPr>
          </a:p>
          <a:p>
            <a:pPr marL="0" algn="l">
              <a:lnSpc>
                <a:spcPct val="150000"/>
              </a:lnSpc>
              <a:buClrTx/>
              <a:buSzTx/>
              <a:buNone/>
            </a:pPr>
            <a:r>
              <a:rPr lang="en-US" sz="1060" dirty="0">
                <a:solidFill>
                  <a:schemeClr val="accent5">
                    <a:lumMod val="75000"/>
                  </a:schemeClr>
                </a:solidFill>
              </a:rPr>
              <a:t>学校实施较为严格的封闭管控措施</a:t>
            </a:r>
            <a:endParaRPr lang="en-US" sz="1060" dirty="0">
              <a:solidFill>
                <a:schemeClr val="accent5">
                  <a:lumMod val="75000"/>
                </a:schemeClr>
              </a:solidFill>
            </a:endParaRPr>
          </a:p>
          <a:p>
            <a:pPr marL="0" algn="l">
              <a:lnSpc>
                <a:spcPct val="150000"/>
              </a:lnSpc>
              <a:buClrTx/>
              <a:buSzTx/>
              <a:buNone/>
            </a:pPr>
            <a:r>
              <a:rPr lang="en-US" sz="1060" dirty="0">
                <a:solidFill>
                  <a:schemeClr val="accent5">
                    <a:lumMod val="75000"/>
                  </a:schemeClr>
                </a:solidFill>
              </a:rPr>
              <a:t>影响项目成员工作积极性和心里健康，影响项目进程。</a:t>
            </a:r>
            <a:endParaRPr lang="en-US" sz="106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4294967295"/>
          </p:nvPr>
        </p:nvSpPr>
        <p:spPr>
          <a:xfrm>
            <a:off x="2045262" y="945014"/>
            <a:ext cx="2010071" cy="584943"/>
          </a:xfrm>
          <a:prstGeom prst="rect">
            <a:avLst/>
          </a:prstGeom>
        </p:spPr>
        <p:txBody>
          <a:bodyPr lIns="121917" tIns="60958" rIns="121917" bIns="60958">
            <a:normAutofit/>
          </a:bodyPr>
          <a:lstStyle/>
          <a:p>
            <a:pPr marL="0" indent="0" algn="ctr">
              <a:buNone/>
            </a:pPr>
            <a:r>
              <a:rPr lang="zh-CN" altLang="en-US" sz="2400"/>
              <a:t>低</a:t>
            </a:r>
            <a:endParaRPr lang="zh-CN" altLang="en-US" sz="2400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294967295"/>
          </p:nvPr>
        </p:nvSpPr>
        <p:spPr>
          <a:xfrm>
            <a:off x="5086454" y="935898"/>
            <a:ext cx="2018551" cy="584943"/>
          </a:xfrm>
          <a:prstGeom prst="rect">
            <a:avLst/>
          </a:prstGeom>
        </p:spPr>
        <p:txBody>
          <a:bodyPr lIns="121917" tIns="60958" rIns="121917" bIns="60958">
            <a:normAutofit/>
          </a:bodyPr>
          <a:lstStyle/>
          <a:p>
            <a:pPr marL="0" indent="0" algn="ctr">
              <a:buNone/>
            </a:pPr>
            <a:r>
              <a:rPr lang="zh-CN" altLang="en-US" sz="2400"/>
              <a:t>中</a:t>
            </a:r>
            <a:endParaRPr lang="zh-CN" altLang="en-US" sz="2400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4294967295"/>
          </p:nvPr>
        </p:nvSpPr>
        <p:spPr>
          <a:xfrm>
            <a:off x="8553667" y="936305"/>
            <a:ext cx="2025817" cy="584943"/>
          </a:xfrm>
          <a:prstGeom prst="rect">
            <a:avLst/>
          </a:prstGeom>
        </p:spPr>
        <p:txBody>
          <a:bodyPr lIns="121917" tIns="60958" rIns="121917" bIns="60958">
            <a:normAutofit/>
          </a:bodyPr>
          <a:lstStyle/>
          <a:p>
            <a:pPr marL="0" indent="0" algn="ctr">
              <a:buNone/>
            </a:pPr>
            <a:r>
              <a:rPr lang="zh-CN" altLang="en-US" sz="2400"/>
              <a:t>高</a:t>
            </a:r>
            <a:endParaRPr lang="zh-CN" altLang="en-US" sz="2400" dirty="0"/>
          </a:p>
        </p:txBody>
      </p:sp>
      <p:sp>
        <p:nvSpPr>
          <p:cNvPr id="3" name="Text Placeholder 3"/>
          <p:cNvSpPr>
            <a:spLocks noGrp="1"/>
          </p:cNvSpPr>
          <p:nvPr/>
        </p:nvSpPr>
        <p:spPr>
          <a:xfrm>
            <a:off x="8469361" y="3047635"/>
            <a:ext cx="2032000" cy="566479"/>
          </a:xfrm>
          <a:prstGeom prst="rect">
            <a:avLst/>
          </a:prstGeom>
        </p:spPr>
        <p:txBody>
          <a:bodyPr lIns="121917" tIns="60958" rIns="121917" bIns="60958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400" dirty="0"/>
              <a:t>人事风险</a:t>
            </a:r>
            <a:endParaRPr lang="zh-CN" altLang="en-US" sz="24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矩形 79"/>
          <p:cNvSpPr/>
          <p:nvPr/>
        </p:nvSpPr>
        <p:spPr>
          <a:xfrm rot="1400643">
            <a:off x="11187986" y="3651676"/>
            <a:ext cx="1798292" cy="598659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grpSp>
        <p:nvGrpSpPr>
          <p:cNvPr id="81" name="1"/>
          <p:cNvGrpSpPr/>
          <p:nvPr>
            <p:custDataLst>
              <p:tags r:id="rId1"/>
            </p:custDataLst>
          </p:nvPr>
        </p:nvGrpSpPr>
        <p:grpSpPr>
          <a:xfrm>
            <a:off x="-12254" y="0"/>
            <a:ext cx="827667" cy="1055811"/>
            <a:chOff x="0" y="-21236"/>
            <a:chExt cx="3311527" cy="4224338"/>
          </a:xfrm>
        </p:grpSpPr>
        <p:sp>
          <p:nvSpPr>
            <p:cNvPr id="82" name="1"/>
            <p:cNvSpPr/>
            <p:nvPr/>
          </p:nvSpPr>
          <p:spPr bwMode="auto">
            <a:xfrm rot="5400000">
              <a:off x="-264318" y="627258"/>
              <a:ext cx="3840163" cy="3311525"/>
            </a:xfrm>
            <a:custGeom>
              <a:avLst/>
              <a:gdLst>
                <a:gd name="T0" fmla="*/ 0 w 2419"/>
                <a:gd name="T1" fmla="*/ 0 h 2086"/>
                <a:gd name="T2" fmla="*/ 753 w 2419"/>
                <a:gd name="T3" fmla="*/ 2008 h 2086"/>
                <a:gd name="T4" fmla="*/ 1228 w 2419"/>
                <a:gd name="T5" fmla="*/ 2086 h 2086"/>
                <a:gd name="T6" fmla="*/ 2419 w 2419"/>
                <a:gd name="T7" fmla="*/ 2086 h 2086"/>
                <a:gd name="T8" fmla="*/ 0 w 2419"/>
                <a:gd name="T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9" h="2086">
                  <a:moveTo>
                    <a:pt x="0" y="0"/>
                  </a:moveTo>
                  <a:lnTo>
                    <a:pt x="753" y="2008"/>
                  </a:lnTo>
                  <a:lnTo>
                    <a:pt x="1228" y="2086"/>
                  </a:lnTo>
                  <a:lnTo>
                    <a:pt x="2419" y="20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3" name="1"/>
            <p:cNvSpPr/>
            <p:nvPr/>
          </p:nvSpPr>
          <p:spPr bwMode="auto">
            <a:xfrm rot="5400000">
              <a:off x="927895" y="-825304"/>
              <a:ext cx="1579563" cy="3187700"/>
            </a:xfrm>
            <a:custGeom>
              <a:avLst/>
              <a:gdLst>
                <a:gd name="T0" fmla="*/ 242 w 995"/>
                <a:gd name="T1" fmla="*/ 0 h 2008"/>
                <a:gd name="T2" fmla="*/ 0 w 995"/>
                <a:gd name="T3" fmla="*/ 305 h 2008"/>
                <a:gd name="T4" fmla="*/ 0 w 995"/>
                <a:gd name="T5" fmla="*/ 1845 h 2008"/>
                <a:gd name="T6" fmla="*/ 995 w 995"/>
                <a:gd name="T7" fmla="*/ 2008 h 2008"/>
                <a:gd name="T8" fmla="*/ 242 w 995"/>
                <a:gd name="T9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5" h="2008">
                  <a:moveTo>
                    <a:pt x="242" y="0"/>
                  </a:moveTo>
                  <a:lnTo>
                    <a:pt x="0" y="305"/>
                  </a:lnTo>
                  <a:lnTo>
                    <a:pt x="0" y="1845"/>
                  </a:lnTo>
                  <a:lnTo>
                    <a:pt x="995" y="2008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4" name="1"/>
            <p:cNvSpPr/>
            <p:nvPr/>
          </p:nvSpPr>
          <p:spPr bwMode="auto">
            <a:xfrm rot="5400000">
              <a:off x="-975519" y="954283"/>
              <a:ext cx="2333625" cy="382588"/>
            </a:xfrm>
            <a:custGeom>
              <a:avLst/>
              <a:gdLst>
                <a:gd name="T0" fmla="*/ 0 w 1470"/>
                <a:gd name="T1" fmla="*/ 0 h 241"/>
                <a:gd name="T2" fmla="*/ 0 w 1470"/>
                <a:gd name="T3" fmla="*/ 233 h 241"/>
                <a:gd name="T4" fmla="*/ 0 w 1470"/>
                <a:gd name="T5" fmla="*/ 241 h 241"/>
                <a:gd name="T6" fmla="*/ 1470 w 1470"/>
                <a:gd name="T7" fmla="*/ 241 h 241"/>
                <a:gd name="T8" fmla="*/ 0 w 1470"/>
                <a:gd name="T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0" h="241">
                  <a:moveTo>
                    <a:pt x="0" y="0"/>
                  </a:moveTo>
                  <a:lnTo>
                    <a:pt x="0" y="233"/>
                  </a:lnTo>
                  <a:lnTo>
                    <a:pt x="0" y="241"/>
                  </a:lnTo>
                  <a:lnTo>
                    <a:pt x="1470" y="2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815340" y="1056005"/>
            <a:ext cx="1011809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buClrTx/>
              <a:buSzTx/>
              <a:buNone/>
            </a:pPr>
            <a:r>
              <a:rPr lang="zh-CN" altLang="en-US" sz="2000"/>
              <a:t>风险应对</a:t>
            </a:r>
            <a:endParaRPr lang="zh-CN" altLang="en-US" sz="2000"/>
          </a:p>
          <a:p>
            <a:pPr algn="l">
              <a:buClrTx/>
              <a:buSzTx/>
              <a:buNone/>
            </a:pPr>
            <a:endParaRPr lang="zh-CN" altLang="en-US" sz="2000"/>
          </a:p>
          <a:p>
            <a:pPr algn="l">
              <a:buClrTx/>
              <a:buSzTx/>
              <a:buNone/>
            </a:pPr>
            <a:r>
              <a:rPr lang="zh-CN" altLang="en-US" sz="2000"/>
              <a:t>1.人事风险: 需要项目经理依照项目计划书全程持续监管项目进度，定期关注项目成员的工作进展，当存在落后情况时，要及时督促。</a:t>
            </a:r>
            <a:endParaRPr lang="zh-CN" altLang="en-US" sz="2000"/>
          </a:p>
          <a:p>
            <a:pPr algn="l">
              <a:buClrTx/>
              <a:buSzTx/>
              <a:buNone/>
            </a:pPr>
            <a:endParaRPr lang="zh-CN" altLang="en-US" sz="2000"/>
          </a:p>
          <a:p>
            <a:pPr algn="l">
              <a:buClrTx/>
              <a:buSzTx/>
              <a:buNone/>
            </a:pPr>
            <a:r>
              <a:rPr lang="zh-CN" altLang="en-US" sz="2000"/>
              <a:t>2.技术风险: 项目成员要在整个开发过程中持续学习和总结项目技术难点，遇到疑难问题时可以开会讨论，共同解决。同时可以咨询其他技术人员。</a:t>
            </a:r>
            <a:endParaRPr lang="zh-CN" altLang="en-US" sz="2000"/>
          </a:p>
          <a:p>
            <a:pPr algn="l">
              <a:buClrTx/>
              <a:buSzTx/>
              <a:buNone/>
            </a:pPr>
            <a:endParaRPr lang="zh-CN" altLang="en-US" sz="2000"/>
          </a:p>
          <a:p>
            <a:pPr algn="l">
              <a:buClrTx/>
              <a:buSzTx/>
              <a:buNone/>
            </a:pPr>
            <a:r>
              <a:rPr lang="zh-CN" altLang="en-US" sz="2000"/>
              <a:t>3.环境风险: 有效利用线上沟通工具，确保每个项目成员对项目进展的了解情况达成一致。在学校允许的户外活动中定期组织成员聚会，缓解心理压力。</a:t>
            </a:r>
            <a:endParaRPr lang="zh-CN" altLang="en-US" sz="2000"/>
          </a:p>
          <a:p>
            <a:pPr algn="l">
              <a:buClrTx/>
              <a:buSzTx/>
              <a:buNone/>
            </a:pPr>
            <a:endParaRPr lang="zh-CN" altLang="en-US" sz="2000"/>
          </a:p>
          <a:p>
            <a:endParaRPr lang="zh-CN" altLang="en-US" sz="20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bldLvl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矩形 79"/>
          <p:cNvSpPr/>
          <p:nvPr/>
        </p:nvSpPr>
        <p:spPr>
          <a:xfrm rot="1400643">
            <a:off x="11187986" y="3651676"/>
            <a:ext cx="1798292" cy="598659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grpSp>
        <p:nvGrpSpPr>
          <p:cNvPr id="81" name="1"/>
          <p:cNvGrpSpPr/>
          <p:nvPr>
            <p:custDataLst>
              <p:tags r:id="rId1"/>
            </p:custDataLst>
          </p:nvPr>
        </p:nvGrpSpPr>
        <p:grpSpPr>
          <a:xfrm>
            <a:off x="-12254" y="0"/>
            <a:ext cx="827667" cy="1055811"/>
            <a:chOff x="0" y="-21236"/>
            <a:chExt cx="3311527" cy="4224338"/>
          </a:xfrm>
        </p:grpSpPr>
        <p:sp>
          <p:nvSpPr>
            <p:cNvPr id="82" name="1"/>
            <p:cNvSpPr/>
            <p:nvPr/>
          </p:nvSpPr>
          <p:spPr bwMode="auto">
            <a:xfrm rot="5400000">
              <a:off x="-264318" y="627258"/>
              <a:ext cx="3840163" cy="3311525"/>
            </a:xfrm>
            <a:custGeom>
              <a:avLst/>
              <a:gdLst>
                <a:gd name="T0" fmla="*/ 0 w 2419"/>
                <a:gd name="T1" fmla="*/ 0 h 2086"/>
                <a:gd name="T2" fmla="*/ 753 w 2419"/>
                <a:gd name="T3" fmla="*/ 2008 h 2086"/>
                <a:gd name="T4" fmla="*/ 1228 w 2419"/>
                <a:gd name="T5" fmla="*/ 2086 h 2086"/>
                <a:gd name="T6" fmla="*/ 2419 w 2419"/>
                <a:gd name="T7" fmla="*/ 2086 h 2086"/>
                <a:gd name="T8" fmla="*/ 0 w 2419"/>
                <a:gd name="T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9" h="2086">
                  <a:moveTo>
                    <a:pt x="0" y="0"/>
                  </a:moveTo>
                  <a:lnTo>
                    <a:pt x="753" y="2008"/>
                  </a:lnTo>
                  <a:lnTo>
                    <a:pt x="1228" y="2086"/>
                  </a:lnTo>
                  <a:lnTo>
                    <a:pt x="2419" y="20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3" name="1"/>
            <p:cNvSpPr/>
            <p:nvPr/>
          </p:nvSpPr>
          <p:spPr bwMode="auto">
            <a:xfrm rot="5400000">
              <a:off x="927895" y="-825304"/>
              <a:ext cx="1579563" cy="3187700"/>
            </a:xfrm>
            <a:custGeom>
              <a:avLst/>
              <a:gdLst>
                <a:gd name="T0" fmla="*/ 242 w 995"/>
                <a:gd name="T1" fmla="*/ 0 h 2008"/>
                <a:gd name="T2" fmla="*/ 0 w 995"/>
                <a:gd name="T3" fmla="*/ 305 h 2008"/>
                <a:gd name="T4" fmla="*/ 0 w 995"/>
                <a:gd name="T5" fmla="*/ 1845 h 2008"/>
                <a:gd name="T6" fmla="*/ 995 w 995"/>
                <a:gd name="T7" fmla="*/ 2008 h 2008"/>
                <a:gd name="T8" fmla="*/ 242 w 995"/>
                <a:gd name="T9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5" h="2008">
                  <a:moveTo>
                    <a:pt x="242" y="0"/>
                  </a:moveTo>
                  <a:lnTo>
                    <a:pt x="0" y="305"/>
                  </a:lnTo>
                  <a:lnTo>
                    <a:pt x="0" y="1845"/>
                  </a:lnTo>
                  <a:lnTo>
                    <a:pt x="995" y="2008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4" name="1"/>
            <p:cNvSpPr/>
            <p:nvPr/>
          </p:nvSpPr>
          <p:spPr bwMode="auto">
            <a:xfrm rot="5400000">
              <a:off x="-975519" y="954283"/>
              <a:ext cx="2333625" cy="382588"/>
            </a:xfrm>
            <a:custGeom>
              <a:avLst/>
              <a:gdLst>
                <a:gd name="T0" fmla="*/ 0 w 1470"/>
                <a:gd name="T1" fmla="*/ 0 h 241"/>
                <a:gd name="T2" fmla="*/ 0 w 1470"/>
                <a:gd name="T3" fmla="*/ 233 h 241"/>
                <a:gd name="T4" fmla="*/ 0 w 1470"/>
                <a:gd name="T5" fmla="*/ 241 h 241"/>
                <a:gd name="T6" fmla="*/ 1470 w 1470"/>
                <a:gd name="T7" fmla="*/ 241 h 241"/>
                <a:gd name="T8" fmla="*/ 0 w 1470"/>
                <a:gd name="T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0" h="241">
                  <a:moveTo>
                    <a:pt x="0" y="0"/>
                  </a:moveTo>
                  <a:lnTo>
                    <a:pt x="0" y="233"/>
                  </a:lnTo>
                  <a:lnTo>
                    <a:pt x="0" y="241"/>
                  </a:lnTo>
                  <a:lnTo>
                    <a:pt x="1470" y="2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815340" y="1056005"/>
            <a:ext cx="1011809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buClrTx/>
              <a:buSzTx/>
              <a:buNone/>
            </a:pPr>
            <a:r>
              <a:rPr lang="zh-CN" altLang="en-US" sz="2000"/>
              <a:t>风险追踪和控制</a:t>
            </a:r>
            <a:endParaRPr lang="zh-CN" altLang="en-US" sz="2000"/>
          </a:p>
          <a:p>
            <a:pPr algn="l">
              <a:buClrTx/>
              <a:buSzTx/>
              <a:buNone/>
            </a:pPr>
            <a:endParaRPr lang="zh-CN" altLang="en-US" sz="2000"/>
          </a:p>
          <a:p>
            <a:pPr algn="l">
              <a:buClrTx/>
              <a:buSzTx/>
              <a:buNone/>
            </a:pPr>
            <a:r>
              <a:rPr lang="zh-CN" altLang="en-US" sz="2000"/>
              <a:t>1.人事风险: 参照项目计划书，项目经理在每个里程碑和时间结点做好记录和总结，保证项目能定期完成，确保风险在可控制范围内。</a:t>
            </a:r>
            <a:endParaRPr lang="zh-CN" altLang="en-US" sz="2000"/>
          </a:p>
          <a:p>
            <a:pPr algn="l">
              <a:buClrTx/>
              <a:buSzTx/>
              <a:buNone/>
            </a:pPr>
            <a:endParaRPr lang="zh-CN" altLang="en-US" sz="2000"/>
          </a:p>
          <a:p>
            <a:pPr algn="l">
              <a:buClrTx/>
              <a:buSzTx/>
              <a:buNone/>
            </a:pPr>
            <a:r>
              <a:rPr lang="zh-CN" altLang="en-US" sz="2000"/>
              <a:t>2.技术风险: 项目成员总结技术经验，记录到博客或相关笔记中，可组织技术交流会，交流项目中遇到的技术问题，最大可能减低技术问题的产生。</a:t>
            </a:r>
            <a:endParaRPr lang="zh-CN" altLang="en-US" sz="2000"/>
          </a:p>
          <a:p>
            <a:pPr algn="l">
              <a:buClrTx/>
              <a:buSzTx/>
              <a:buNone/>
            </a:pPr>
            <a:endParaRPr lang="zh-CN" altLang="en-US" sz="2000"/>
          </a:p>
          <a:p>
            <a:pPr algn="l">
              <a:buClrTx/>
              <a:buSzTx/>
              <a:buNone/>
            </a:pPr>
            <a:r>
              <a:rPr lang="zh-CN" altLang="en-US" sz="2000"/>
              <a:t>3.环境风险: 关注上海疫情发展情况，相信政府能力，可以定期对项目成员进行心理辅导和心理测试。</a:t>
            </a:r>
            <a:endParaRPr lang="zh-CN" altLang="en-US" sz="2000"/>
          </a:p>
          <a:p>
            <a:endParaRPr lang="zh-CN" altLang="en-US" sz="20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bldLvl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206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52792" y="2884327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dirty="0" smtClean="0"/>
              <a:t>测试计划</a:t>
            </a:r>
            <a:endParaRPr lang="zh-CN" altLang="en-US" sz="3600" dirty="0" smtClean="0"/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02770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chemeClr val="accent4"/>
                </a:solidFill>
              </a:rPr>
              <a:t>PART 04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99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ldLvl="0" animBg="1"/>
      <p:bldP spid="9" grpId="0"/>
      <p:bldP spid="10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22" name="Group 22"/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/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/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/>
          <p:cNvSpPr txBox="1"/>
          <p:nvPr>
            <p:custDataLst>
              <p:tags r:id="rId1"/>
            </p:custDataLst>
          </p:nvPr>
        </p:nvSpPr>
        <p:spPr>
          <a:xfrm>
            <a:off x="1583500" y="2603603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使用</a:t>
            </a:r>
            <a:r>
              <a:rPr lang="en-US" altLang="zh-CN" sz="1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JUnit</a:t>
            </a:r>
            <a:r>
              <a:rPr lang="zh-CN" altLang="en-US" sz="1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进行单元测试</a:t>
            </a:r>
            <a:endParaRPr lang="zh-CN" altLang="en-US" sz="14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  <a:p>
            <a:pPr marL="0" indent="0">
              <a:buNone/>
            </a:pPr>
            <a:endParaRPr lang="zh-CN" altLang="en-US" sz="14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  <a:p>
            <a:r>
              <a:rPr lang="zh-CN" altLang="en-US" sz="1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写一点，测一点</a:t>
            </a:r>
            <a:endParaRPr lang="zh-CN" altLang="en-US" sz="14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  <a:p>
            <a:pPr marL="0" indent="0">
              <a:buNone/>
            </a:pPr>
            <a:endParaRPr lang="zh-CN" altLang="en-US" sz="14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  <a:p>
            <a:r>
              <a:rPr lang="zh-CN" altLang="en-US" sz="1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其他成员</a:t>
            </a:r>
            <a:r>
              <a:rPr lang="en-US" altLang="zh-CN" sz="1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pull</a:t>
            </a:r>
            <a:r>
              <a:rPr lang="zh-CN" altLang="en-US" sz="1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后进行测试</a:t>
            </a:r>
            <a:endParaRPr lang="zh-CN" altLang="en-US" sz="14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7" name="PA_TextPlaceholder 2"/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5300" b="1" dirty="0"/>
              <a:t>单元测试</a:t>
            </a:r>
            <a:endParaRPr lang="zh-CN" altLang="en-US" sz="5300" b="1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rcRect r="-643" b="3276"/>
          <a:stretch>
            <a:fillRect/>
          </a:stretch>
        </p:blipFill>
        <p:spPr>
          <a:xfrm>
            <a:off x="6737350" y="337820"/>
            <a:ext cx="3182620" cy="159385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1375" y="2755900"/>
            <a:ext cx="6082030" cy="21526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206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52792" y="2884327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dirty="0" smtClean="0"/>
              <a:t>经验教训及总结</a:t>
            </a:r>
            <a:endParaRPr lang="zh-CN" altLang="en-US" sz="3600" dirty="0" smtClean="0"/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02770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chemeClr val="accent4"/>
                </a:solidFill>
              </a:rPr>
              <a:t>PART 05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99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ldLvl="0" animBg="1"/>
      <p:bldP spid="9" grpId="0"/>
      <p:bldP spid="10" grpId="0"/>
      <p:bldP spid="1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 rot="1400643">
            <a:off x="9757908" y="2403204"/>
            <a:ext cx="5683816" cy="4312867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sp>
        <p:nvSpPr>
          <p:cNvPr id="226" name="Rectangle 10"/>
          <p:cNvSpPr/>
          <p:nvPr/>
        </p:nvSpPr>
        <p:spPr>
          <a:xfrm>
            <a:off x="5185574" y="1236223"/>
            <a:ext cx="5787997" cy="4028692"/>
          </a:xfrm>
          <a:prstGeom prst="rect">
            <a:avLst/>
          </a:prstGeom>
          <a:blipFill dpi="0" rotWithShape="1">
            <a:blip r:embed="rId1">
              <a:extLst>
                <a:ext uri="{BEBA8EAE-BF5A-486C-A8C5-ECC9F3942E4B}">
                  <a14:imgProps xmlns:a14="http://schemas.microsoft.com/office/drawing/2010/main">
                    <a14:imgLayer r:embed="rId2"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/>
            <a:stretch>
              <a:fillRect l="-20000"/>
            </a:stretch>
          </a:blipFill>
          <a:ln w="25400" cap="flat" cmpd="sng" algn="ctr">
            <a:noFill/>
            <a:prstDash val="solid"/>
          </a:ln>
          <a:effectLst/>
        </p:spPr>
        <p:txBody>
          <a:bodyPr lIns="91434" tIns="45716" rIns="91434" bIns="45716" anchor="ctr"/>
          <a:lstStyle/>
          <a:p>
            <a:pPr algn="ctr" defTabSz="914400">
              <a:defRPr/>
            </a:pPr>
            <a:endParaRPr lang="zh-CN" altLang="zh-CN" sz="1900" kern="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1" name="PA_TextPlaceholder 1"/>
          <p:cNvSpPr txBox="1"/>
          <p:nvPr>
            <p:custDataLst>
              <p:tags r:id="rId3"/>
            </p:custDataLst>
          </p:nvPr>
        </p:nvSpPr>
        <p:spPr>
          <a:xfrm>
            <a:off x="1275615" y="2957165"/>
            <a:ext cx="3360373" cy="2457579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误区：</a:t>
            </a: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预感项目要</a:t>
            </a:r>
            <a:r>
              <a:rPr lang="en-US" altLang="zh-CN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elay</a:t>
            </a:r>
            <a:r>
              <a:rPr lang="zh-CN" alt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时立刻想要加派人手，或换更有经验的成员去做</a:t>
            </a: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人数并不能换算成时间</a:t>
            </a: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交流成本</a:t>
            </a: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任务的拓扑排序</a:t>
            </a: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PA_TextPlaceholder 2"/>
          <p:cNvSpPr txBox="1"/>
          <p:nvPr>
            <p:custDataLst>
              <p:tags r:id="rId4"/>
            </p:custDataLst>
          </p:nvPr>
        </p:nvSpPr>
        <p:spPr>
          <a:xfrm>
            <a:off x="1133877" y="2035031"/>
            <a:ext cx="4051121" cy="150383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/>
              <a:t>增加人手</a:t>
            </a:r>
            <a:r>
              <a:rPr lang="en-US" altLang="zh-CN" dirty="0"/>
              <a:t>≠</a:t>
            </a:r>
            <a:r>
              <a:rPr lang="zh-CN" altLang="en-US" dirty="0"/>
              <a:t>加快进度</a:t>
            </a:r>
            <a:endParaRPr lang="zh-CN" altLang="en-US" dirty="0"/>
          </a:p>
        </p:txBody>
      </p:sp>
      <p:sp>
        <p:nvSpPr>
          <p:cNvPr id="13" name="PA_TextPlaceholder 3"/>
          <p:cNvSpPr txBox="1"/>
          <p:nvPr>
            <p:custDataLst>
              <p:tags r:id="rId5"/>
            </p:custDataLst>
          </p:nvPr>
        </p:nvSpPr>
        <p:spPr>
          <a:xfrm>
            <a:off x="1363494" y="1073876"/>
            <a:ext cx="4043285" cy="330149"/>
          </a:xfrm>
          <a:prstGeom prst="rect">
            <a:avLst/>
          </a:prstGeom>
        </p:spPr>
        <p:txBody>
          <a:bodyPr vert="horz" lIns="121917" tIns="60958" rIns="121917" bIns="60958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5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ldLvl="0" animBg="1"/>
      <p:bldP spid="226" grpId="0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2400"/>
          </a:p>
        </p:txBody>
      </p:sp>
      <p:grpSp>
        <p:nvGrpSpPr>
          <p:cNvPr id="7" name="Group 8"/>
          <p:cNvGrpSpPr>
            <a:grpSpLocks noChangeAspect="1"/>
          </p:cNvGrpSpPr>
          <p:nvPr/>
        </p:nvGrpSpPr>
        <p:grpSpPr>
          <a:xfrm>
            <a:off x="7112000" y="5712443"/>
            <a:ext cx="312000" cy="311952"/>
            <a:chOff x="3238499" y="8277225"/>
            <a:chExt cx="666750" cy="666750"/>
          </a:xfrm>
        </p:grpSpPr>
        <p:sp>
          <p:nvSpPr>
            <p:cNvPr id="8" name="Oval 9"/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9" name="Freeform 24"/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11" name="PA_TextPlaceholder 1"/>
          <p:cNvSpPr txBox="1"/>
          <p:nvPr>
            <p:custDataLst>
              <p:tags r:id="rId1"/>
            </p:custDataLst>
          </p:nvPr>
        </p:nvSpPr>
        <p:spPr>
          <a:xfrm>
            <a:off x="7580485" y="2891635"/>
            <a:ext cx="3360373" cy="2457579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zh-CN" alt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计划评审技术图</a:t>
            </a: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 algn="l">
              <a:buNone/>
            </a:pP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 algn="l">
              <a:buNone/>
            </a:pPr>
            <a:r>
              <a:rPr lang="zh-CN" alt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活动先后顺序</a:t>
            </a: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 algn="l">
              <a:buNone/>
            </a:pP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 algn="l">
              <a:buNone/>
            </a:pPr>
            <a:r>
              <a:rPr lang="zh-CN" alt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子任务间的依赖关系，并行执行</a:t>
            </a:r>
            <a:endParaRPr lang="zh-CN" alt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PA_TextPlaceholder 2"/>
          <p:cNvSpPr txBox="1"/>
          <p:nvPr>
            <p:custDataLst>
              <p:tags r:id="rId2"/>
            </p:custDataLst>
          </p:nvPr>
        </p:nvSpPr>
        <p:spPr>
          <a:xfrm>
            <a:off x="7446368" y="1387841"/>
            <a:ext cx="4051121" cy="150383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sz="4800" dirty="0"/>
          </a:p>
        </p:txBody>
      </p:sp>
      <p:pic>
        <p:nvPicPr>
          <p:cNvPr id="2" name="图片 1" descr="faedab64034f78f0b6ad559d58b5905db2191c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575" y="1936750"/>
            <a:ext cx="5485130" cy="2809875"/>
          </a:xfrm>
          <a:prstGeom prst="rect">
            <a:avLst/>
          </a:prstGeom>
        </p:spPr>
      </p:pic>
      <p:sp>
        <p:nvSpPr>
          <p:cNvPr id="3" name="PA_TextPlaceholder 2"/>
          <p:cNvSpPr txBox="1"/>
          <p:nvPr>
            <p:custDataLst>
              <p:tags r:id="rId4"/>
            </p:custDataLst>
          </p:nvPr>
        </p:nvSpPr>
        <p:spPr>
          <a:xfrm>
            <a:off x="6645677" y="1936606"/>
            <a:ext cx="4051121" cy="150383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	PERT</a:t>
            </a:r>
            <a:r>
              <a:rPr lang="zh-CN" altLang="en-US" dirty="0"/>
              <a:t>图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206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52792" y="2884327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dirty="0" smtClean="0"/>
              <a:t>下一周期计划</a:t>
            </a:r>
            <a:endParaRPr lang="zh-CN" altLang="en-US" sz="3600" dirty="0" smtClean="0"/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02770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chemeClr val="accent4"/>
                </a:solidFill>
              </a:rPr>
              <a:t>PART 06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99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ldLvl="0" animBg="1"/>
      <p:bldP spid="9" grpId="0"/>
      <p:bldP spid="10" grpId="0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5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9" name="矩形 28"/>
          <p:cNvSpPr/>
          <p:nvPr/>
        </p:nvSpPr>
        <p:spPr>
          <a:xfrm rot="1400643">
            <a:off x="7889927" y="3831078"/>
            <a:ext cx="2068356" cy="791900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sp>
        <p:nvSpPr>
          <p:cNvPr id="28" name="矩形 27"/>
          <p:cNvSpPr/>
          <p:nvPr/>
        </p:nvSpPr>
        <p:spPr>
          <a:xfrm rot="1400643">
            <a:off x="6686632" y="2012924"/>
            <a:ext cx="1345033" cy="514965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sp>
        <p:nvSpPr>
          <p:cNvPr id="27" name="矩形 26"/>
          <p:cNvSpPr/>
          <p:nvPr/>
        </p:nvSpPr>
        <p:spPr>
          <a:xfrm rot="1400643">
            <a:off x="3066695" y="3199009"/>
            <a:ext cx="2068356" cy="791900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sp>
        <p:nvSpPr>
          <p:cNvPr id="26" name="矩形 25"/>
          <p:cNvSpPr/>
          <p:nvPr/>
        </p:nvSpPr>
        <p:spPr>
          <a:xfrm rot="1400643">
            <a:off x="1930047" y="4964299"/>
            <a:ext cx="2068356" cy="791900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sp>
        <p:nvSpPr>
          <p:cNvPr id="237" name="Oval 6"/>
          <p:cNvSpPr/>
          <p:nvPr/>
        </p:nvSpPr>
        <p:spPr>
          <a:xfrm>
            <a:off x="6494981" y="1755499"/>
            <a:ext cx="531811" cy="5318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6" rIns="91434" bIns="45716" anchor="ctr"/>
          <a:lstStyle/>
          <a:p>
            <a:pPr algn="ctr" eaLnBrk="1" hangingPunct="1"/>
            <a:r>
              <a:rPr lang="en-US" altLang="zh-CN" sz="2400" b="1" dirty="0">
                <a:solidFill>
                  <a:srgbClr val="F2F2F2"/>
                </a:solidFill>
                <a:cs typeface="+mn-ea"/>
                <a:sym typeface="+mn-lt"/>
              </a:rPr>
              <a:t>C</a:t>
            </a:r>
            <a:endParaRPr lang="en-US" altLang="zh-CN" sz="2400" b="1" dirty="0">
              <a:solidFill>
                <a:srgbClr val="F2F2F2"/>
              </a:solidFill>
              <a:cs typeface="+mn-ea"/>
              <a:sym typeface="+mn-lt"/>
            </a:endParaRPr>
          </a:p>
        </p:txBody>
      </p:sp>
      <p:sp>
        <p:nvSpPr>
          <p:cNvPr id="254" name="Oval 4"/>
          <p:cNvSpPr/>
          <p:nvPr/>
        </p:nvSpPr>
        <p:spPr>
          <a:xfrm>
            <a:off x="7547492" y="3414438"/>
            <a:ext cx="819145" cy="81914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6" rIns="91434" bIns="45716" anchor="ctr"/>
          <a:lstStyle/>
          <a:p>
            <a:pPr algn="ctr" eaLnBrk="1" hangingPunct="1"/>
            <a:r>
              <a:rPr lang="en-US" altLang="zh-CN" sz="2800" b="1" dirty="0">
                <a:solidFill>
                  <a:srgbClr val="F2F2F2"/>
                </a:solidFill>
                <a:cs typeface="+mn-ea"/>
                <a:sym typeface="+mn-lt"/>
              </a:rPr>
              <a:t>D</a:t>
            </a:r>
            <a:endParaRPr lang="en-US" altLang="zh-CN" sz="2800" b="1" dirty="0">
              <a:solidFill>
                <a:srgbClr val="F2F2F2"/>
              </a:solidFill>
              <a:cs typeface="+mn-ea"/>
              <a:sym typeface="+mn-lt"/>
            </a:endParaRPr>
          </a:p>
        </p:txBody>
      </p:sp>
      <p:sp>
        <p:nvSpPr>
          <p:cNvPr id="255" name="Oval 12"/>
          <p:cNvSpPr/>
          <p:nvPr/>
        </p:nvSpPr>
        <p:spPr>
          <a:xfrm>
            <a:off x="2794538" y="2803250"/>
            <a:ext cx="819145" cy="8191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6" rIns="91434" bIns="45716" anchor="ctr"/>
          <a:lstStyle/>
          <a:p>
            <a:pPr algn="ctr" eaLnBrk="1" hangingPunct="1"/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B</a:t>
            </a:r>
            <a:endParaRPr lang="en-US" altLang="zh-CN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56" name="Oval 13"/>
          <p:cNvSpPr/>
          <p:nvPr/>
        </p:nvSpPr>
        <p:spPr>
          <a:xfrm>
            <a:off x="1557881" y="4512987"/>
            <a:ext cx="819145" cy="81914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6" rIns="91434" bIns="45716" anchor="ctr"/>
          <a:lstStyle/>
          <a:p>
            <a:pPr algn="ctr" eaLnBrk="1" hangingPunct="1"/>
            <a:r>
              <a:rPr lang="en-US" altLang="zh-CN" sz="2800" b="1" dirty="0">
                <a:solidFill>
                  <a:schemeClr val="accent4"/>
                </a:solidFill>
                <a:cs typeface="+mn-ea"/>
                <a:sym typeface="+mn-lt"/>
              </a:rPr>
              <a:t>A</a:t>
            </a:r>
            <a:endParaRPr lang="en-US" altLang="zh-CN" sz="2800" b="1" dirty="0">
              <a:solidFill>
                <a:schemeClr val="accent4"/>
              </a:solidFill>
              <a:cs typeface="+mn-ea"/>
              <a:sym typeface="+mn-lt"/>
            </a:endParaRPr>
          </a:p>
        </p:txBody>
      </p:sp>
      <p:sp>
        <p:nvSpPr>
          <p:cNvPr id="259" name="TextBox 258"/>
          <p:cNvSpPr txBox="1"/>
          <p:nvPr/>
        </p:nvSpPr>
        <p:spPr>
          <a:xfrm>
            <a:off x="2560955" y="4745990"/>
            <a:ext cx="1402080" cy="4603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完善功能</a:t>
            </a:r>
            <a:endParaRPr lang="zh-CN" altLang="en-US" sz="2400" b="1" dirty="0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3" name="Group 20"/>
          <p:cNvGrpSpPr/>
          <p:nvPr/>
        </p:nvGrpSpPr>
        <p:grpSpPr bwMode="auto">
          <a:xfrm>
            <a:off x="3807040" y="2922633"/>
            <a:ext cx="2390764" cy="758887"/>
            <a:chOff x="2155025" y="4449725"/>
            <a:chExt cx="2391371" cy="757996"/>
          </a:xfrm>
        </p:grpSpPr>
        <p:sp>
          <p:nvSpPr>
            <p:cNvPr id="262" name="TextBox 261"/>
            <p:cNvSpPr txBox="1"/>
            <p:nvPr/>
          </p:nvSpPr>
          <p:spPr>
            <a:xfrm>
              <a:off x="2155025" y="4449725"/>
              <a:ext cx="1402436" cy="45983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zh-CN" altLang="en-US" sz="24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性能优化</a:t>
              </a:r>
              <a:endParaRPr lang="zh-CN" altLang="en-US" sz="24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63" name="Rectangle 22"/>
            <p:cNvSpPr/>
            <p:nvPr/>
          </p:nvSpPr>
          <p:spPr>
            <a:xfrm>
              <a:off x="2155025" y="4947677"/>
              <a:ext cx="2391371" cy="26004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100" dirty="0"/>
            </a:p>
          </p:txBody>
        </p:sp>
      </p:grpSp>
      <p:grpSp>
        <p:nvGrpSpPr>
          <p:cNvPr id="4" name="Group 23"/>
          <p:cNvGrpSpPr/>
          <p:nvPr/>
        </p:nvGrpSpPr>
        <p:grpSpPr bwMode="auto">
          <a:xfrm>
            <a:off x="7229991" y="1755499"/>
            <a:ext cx="2392351" cy="471386"/>
            <a:chOff x="2155025" y="4643173"/>
            <a:chExt cx="2391371" cy="470833"/>
          </a:xfrm>
        </p:grpSpPr>
        <p:sp>
          <p:nvSpPr>
            <p:cNvPr id="265" name="TextBox 264"/>
            <p:cNvSpPr txBox="1"/>
            <p:nvPr/>
          </p:nvSpPr>
          <p:spPr>
            <a:xfrm>
              <a:off x="2295937" y="4643173"/>
              <a:ext cx="1706181" cy="45983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zh-CN" altLang="en-US" sz="24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自动化测试</a:t>
              </a:r>
              <a:endParaRPr lang="zh-CN" altLang="en-US" sz="24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66" name="Rectangle 25"/>
            <p:cNvSpPr/>
            <p:nvPr/>
          </p:nvSpPr>
          <p:spPr>
            <a:xfrm>
              <a:off x="2155025" y="4853961"/>
              <a:ext cx="2391371" cy="26004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100" dirty="0"/>
            </a:p>
          </p:txBody>
        </p:sp>
      </p:grpSp>
      <p:grpSp>
        <p:nvGrpSpPr>
          <p:cNvPr id="5" name="Group 26"/>
          <p:cNvGrpSpPr/>
          <p:nvPr/>
        </p:nvGrpSpPr>
        <p:grpSpPr bwMode="auto">
          <a:xfrm>
            <a:off x="8525385" y="3622395"/>
            <a:ext cx="2390764" cy="682696"/>
            <a:chOff x="2155025" y="4449725"/>
            <a:chExt cx="2391371" cy="683083"/>
          </a:xfrm>
        </p:grpSpPr>
        <p:sp>
          <p:nvSpPr>
            <p:cNvPr id="268" name="TextBox 267"/>
            <p:cNvSpPr txBox="1"/>
            <p:nvPr/>
          </p:nvSpPr>
          <p:spPr>
            <a:xfrm>
              <a:off x="2155025" y="4449725"/>
              <a:ext cx="1402436" cy="46063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zh-CN" altLang="en-US" sz="24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项目部署</a:t>
              </a:r>
              <a:endParaRPr lang="zh-CN" altLang="en-US" sz="24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69" name="Rectangle 28"/>
            <p:cNvSpPr/>
            <p:nvPr/>
          </p:nvSpPr>
          <p:spPr>
            <a:xfrm>
              <a:off x="2155025" y="4872311"/>
              <a:ext cx="2391371" cy="2604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100" dirty="0"/>
            </a:p>
          </p:txBody>
        </p:sp>
      </p:grpSp>
      <p:cxnSp>
        <p:nvCxnSpPr>
          <p:cNvPr id="273" name="Curved Connector 33"/>
          <p:cNvCxnSpPr>
            <a:stCxn id="256" idx="0"/>
            <a:endCxn id="255" idx="3"/>
          </p:cNvCxnSpPr>
          <p:nvPr/>
        </p:nvCxnSpPr>
        <p:spPr>
          <a:xfrm rot="5400000" flipH="1" flipV="1">
            <a:off x="1935702" y="3534191"/>
            <a:ext cx="1010549" cy="947045"/>
          </a:xfrm>
          <a:prstGeom prst="curvedConnector3">
            <a:avLst/>
          </a:prstGeom>
          <a:ln w="254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Curved Connector 39"/>
          <p:cNvCxnSpPr>
            <a:stCxn id="237" idx="4"/>
            <a:endCxn id="254" idx="1"/>
          </p:cNvCxnSpPr>
          <p:nvPr/>
        </p:nvCxnSpPr>
        <p:spPr>
          <a:xfrm rot="16200000" flipH="1">
            <a:off x="6590627" y="2457574"/>
            <a:ext cx="1247087" cy="906564"/>
          </a:xfrm>
          <a:prstGeom prst="curvedConnector3">
            <a:avLst>
              <a:gd name="adj1" fmla="val 50000"/>
            </a:avLst>
          </a:prstGeom>
          <a:ln w="254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Curved Connector 39"/>
          <p:cNvCxnSpPr>
            <a:stCxn id="255" idx="7"/>
            <a:endCxn id="237" idx="0"/>
          </p:cNvCxnSpPr>
          <p:nvPr/>
        </p:nvCxnSpPr>
        <p:spPr>
          <a:xfrm rot="5400000" flipH="1" flipV="1">
            <a:off x="4543447" y="705774"/>
            <a:ext cx="1167712" cy="3267165"/>
          </a:xfrm>
          <a:prstGeom prst="curvedConnector3">
            <a:avLst>
              <a:gd name="adj1" fmla="val 119577"/>
            </a:avLst>
          </a:prstGeom>
          <a:ln w="254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_TextPlaceholder 2"/>
          <p:cNvSpPr txBox="1"/>
          <p:nvPr>
            <p:custDataLst>
              <p:tags r:id="rId1"/>
            </p:custDataLst>
          </p:nvPr>
        </p:nvSpPr>
        <p:spPr>
          <a:xfrm>
            <a:off x="357888" y="670974"/>
            <a:ext cx="4051121" cy="150383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4800" dirty="0"/>
              <a:t>下一周期</a:t>
            </a:r>
            <a:endParaRPr lang="zh-CN" altLang="en-US" sz="48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3" dur="5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8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bldLvl="0" animBg="1"/>
      <p:bldP spid="28" grpId="0" bldLvl="0" animBg="1"/>
      <p:bldP spid="27" grpId="0" bldLvl="0" animBg="1"/>
      <p:bldP spid="26" grpId="0" bldLvl="0" animBg="1"/>
      <p:bldP spid="237" grpId="0" bldLvl="0" animBg="1"/>
      <p:bldP spid="254" grpId="0" bldLvl="0" animBg="1"/>
      <p:bldP spid="255" grpId="0" bldLvl="0" animBg="1"/>
      <p:bldP spid="256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tx2">
                <a:lumMod val="60000"/>
                <a:lumOff val="40000"/>
                <a:alpha val="57000"/>
              </a:schemeClr>
            </a:gs>
            <a:gs pos="0">
              <a:schemeClr val="tx2">
                <a:lumMod val="20000"/>
                <a:lumOff val="80000"/>
                <a:alpha val="0"/>
              </a:schemeClr>
            </a:gs>
          </a:gsLst>
          <a:lin ang="0" scaled="0"/>
        </a:gradFill>
        <a:effectLst/>
      </p:bgPr>
    </p:bg>
    <p:spTree>
      <p:nvGrpSpPr>
        <p:cNvPr id="1" name="ïṡḻ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 rot="15768603">
            <a:off x="-454516" y="5186932"/>
            <a:ext cx="1951242" cy="1951242"/>
            <a:chOff x="3738861" y="1313527"/>
            <a:chExt cx="3771900" cy="3771900"/>
          </a:xfrm>
        </p:grpSpPr>
        <p:sp>
          <p:nvSpPr>
            <p:cNvPr id="5" name="iṩḷîḓê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ïšḷiḑê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bg2">
                    <a:alpha val="4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ísḷîdè"/>
          <p:cNvSpPr/>
          <p:nvPr userDrawn="1"/>
        </p:nvSpPr>
        <p:spPr>
          <a:xfrm rot="21144926">
            <a:off x="6800929" y="1082928"/>
            <a:ext cx="3771900" cy="377190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tx2">
                  <a:alpha val="39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 rot="13619201">
            <a:off x="10240789" y="2168633"/>
            <a:ext cx="1128930" cy="1128930"/>
            <a:chOff x="3738861" y="1313527"/>
            <a:chExt cx="3771900" cy="3771900"/>
          </a:xfrm>
        </p:grpSpPr>
        <p:sp>
          <p:nvSpPr>
            <p:cNvPr id="13" name="iṣ1ïďè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îṩlîḓe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64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7" name="Group 19"/>
          <p:cNvGrpSpPr/>
          <p:nvPr/>
        </p:nvGrpSpPr>
        <p:grpSpPr bwMode="auto">
          <a:xfrm>
            <a:off x="2054221" y="1113499"/>
            <a:ext cx="3666475" cy="694980"/>
            <a:chOff x="2155025" y="4449725"/>
            <a:chExt cx="2391371" cy="695372"/>
          </a:xfrm>
        </p:grpSpPr>
        <p:sp>
          <p:nvSpPr>
            <p:cNvPr id="18" name="TextBox 17"/>
            <p:cNvSpPr txBox="1"/>
            <p:nvPr/>
          </p:nvSpPr>
          <p:spPr>
            <a:xfrm>
              <a:off x="2155025" y="4449725"/>
              <a:ext cx="1047006" cy="5222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zh-CN" altLang="en-US" sz="2800" dirty="0"/>
                <a:t>项目展示</a:t>
              </a:r>
              <a:endParaRPr lang="zh-CN" altLang="en-US" sz="28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155025" y="4869352"/>
              <a:ext cx="2391371" cy="27574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200" dirty="0"/>
            </a:p>
          </p:txBody>
        </p:sp>
      </p:grpSp>
      <p:grpSp>
        <p:nvGrpSpPr>
          <p:cNvPr id="20" name="Group 19"/>
          <p:cNvGrpSpPr/>
          <p:nvPr/>
        </p:nvGrpSpPr>
        <p:grpSpPr bwMode="auto">
          <a:xfrm>
            <a:off x="2054221" y="1963103"/>
            <a:ext cx="3666475" cy="694980"/>
            <a:chOff x="2155025" y="4449725"/>
            <a:chExt cx="2391371" cy="695372"/>
          </a:xfrm>
        </p:grpSpPr>
        <p:sp>
          <p:nvSpPr>
            <p:cNvPr id="21" name="TextBox 20"/>
            <p:cNvSpPr txBox="1"/>
            <p:nvPr/>
          </p:nvSpPr>
          <p:spPr>
            <a:xfrm>
              <a:off x="2155025" y="4449725"/>
              <a:ext cx="1510869" cy="5222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zh-CN" altLang="en-US" sz="2800" dirty="0"/>
                <a:t>项目执行过程</a:t>
              </a:r>
              <a:endParaRPr lang="zh-CN" altLang="en-US" sz="2800" dirty="0"/>
            </a:p>
          </p:txBody>
        </p:sp>
        <p:sp>
          <p:nvSpPr>
            <p:cNvPr id="22" name="Rectangle 18"/>
            <p:cNvSpPr/>
            <p:nvPr/>
          </p:nvSpPr>
          <p:spPr>
            <a:xfrm>
              <a:off x="2155025" y="4869352"/>
              <a:ext cx="2391371" cy="27574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200" dirty="0"/>
            </a:p>
          </p:txBody>
        </p:sp>
      </p:grpSp>
      <p:grpSp>
        <p:nvGrpSpPr>
          <p:cNvPr id="23" name="Group 19"/>
          <p:cNvGrpSpPr/>
          <p:nvPr/>
        </p:nvGrpSpPr>
        <p:grpSpPr bwMode="auto">
          <a:xfrm>
            <a:off x="2054221" y="2807762"/>
            <a:ext cx="3666475" cy="694980"/>
            <a:chOff x="2155025" y="4449725"/>
            <a:chExt cx="2391371" cy="695372"/>
          </a:xfrm>
        </p:grpSpPr>
        <p:sp>
          <p:nvSpPr>
            <p:cNvPr id="24" name="TextBox 23"/>
            <p:cNvSpPr txBox="1"/>
            <p:nvPr/>
          </p:nvSpPr>
          <p:spPr>
            <a:xfrm>
              <a:off x="2155025" y="4449725"/>
              <a:ext cx="1510869" cy="5222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zh-CN" altLang="en-US" sz="2800" dirty="0"/>
                <a:t>风险管理计划</a:t>
              </a:r>
              <a:endParaRPr lang="zh-CN" altLang="en-US" sz="2800" dirty="0"/>
            </a:p>
          </p:txBody>
        </p:sp>
        <p:sp>
          <p:nvSpPr>
            <p:cNvPr id="25" name="Rectangle 18"/>
            <p:cNvSpPr/>
            <p:nvPr/>
          </p:nvSpPr>
          <p:spPr>
            <a:xfrm>
              <a:off x="2155025" y="4869352"/>
              <a:ext cx="2391371" cy="27574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200" dirty="0"/>
            </a:p>
          </p:txBody>
        </p:sp>
      </p:grpSp>
      <p:grpSp>
        <p:nvGrpSpPr>
          <p:cNvPr id="26" name="Group 19"/>
          <p:cNvGrpSpPr/>
          <p:nvPr/>
        </p:nvGrpSpPr>
        <p:grpSpPr bwMode="auto">
          <a:xfrm>
            <a:off x="2054221" y="3707031"/>
            <a:ext cx="3666475" cy="797850"/>
            <a:chOff x="2155025" y="4346797"/>
            <a:chExt cx="2391371" cy="798300"/>
          </a:xfrm>
        </p:grpSpPr>
        <p:sp>
          <p:nvSpPr>
            <p:cNvPr id="27" name="TextBox 26"/>
            <p:cNvSpPr txBox="1"/>
            <p:nvPr/>
          </p:nvSpPr>
          <p:spPr>
            <a:xfrm>
              <a:off x="2155025" y="4346797"/>
              <a:ext cx="1047006" cy="5222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zh-CN" altLang="en-US" sz="2800" dirty="0"/>
                <a:t>测试计划</a:t>
              </a:r>
              <a:endParaRPr lang="zh-CN" altLang="en-US" sz="2800" dirty="0"/>
            </a:p>
          </p:txBody>
        </p:sp>
        <p:sp>
          <p:nvSpPr>
            <p:cNvPr id="28" name="Rectangle 18"/>
            <p:cNvSpPr/>
            <p:nvPr/>
          </p:nvSpPr>
          <p:spPr>
            <a:xfrm>
              <a:off x="2155025" y="4869352"/>
              <a:ext cx="2391371" cy="27574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200" dirty="0"/>
            </a:p>
          </p:txBody>
        </p:sp>
      </p:grpSp>
      <p:sp>
        <p:nvSpPr>
          <p:cNvPr id="2" name="矩形 1"/>
          <p:cNvSpPr/>
          <p:nvPr/>
        </p:nvSpPr>
        <p:spPr>
          <a:xfrm>
            <a:off x="6040487" y="2387486"/>
            <a:ext cx="4764767" cy="1323439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 algn="ctr"/>
            <a:r>
              <a:rPr lang="en-US" altLang="zh-CN" sz="8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ENTS</a:t>
            </a:r>
            <a:endParaRPr lang="en-US" altLang="zh-CN" sz="8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" name="Group 19"/>
          <p:cNvGrpSpPr/>
          <p:nvPr/>
        </p:nvGrpSpPr>
        <p:grpSpPr bwMode="auto">
          <a:xfrm>
            <a:off x="2054221" y="4504591"/>
            <a:ext cx="3666475" cy="694980"/>
            <a:chOff x="2155025" y="4449725"/>
            <a:chExt cx="2391371" cy="695372"/>
          </a:xfrm>
        </p:grpSpPr>
        <p:sp>
          <p:nvSpPr>
            <p:cNvPr id="6" name="TextBox 26"/>
            <p:cNvSpPr txBox="1"/>
            <p:nvPr/>
          </p:nvSpPr>
          <p:spPr>
            <a:xfrm>
              <a:off x="2155025" y="4449725"/>
              <a:ext cx="1742801" cy="5222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p>
              <a:r>
                <a:rPr lang="zh-CN" altLang="en-US" sz="2800" dirty="0"/>
                <a:t>经验教训及总结</a:t>
              </a:r>
              <a:endParaRPr lang="zh-CN" altLang="en-US" sz="2800" dirty="0"/>
            </a:p>
          </p:txBody>
        </p:sp>
        <p:sp>
          <p:nvSpPr>
            <p:cNvPr id="8" name="Rectangle 18"/>
            <p:cNvSpPr/>
            <p:nvPr/>
          </p:nvSpPr>
          <p:spPr>
            <a:xfrm>
              <a:off x="2155025" y="4869352"/>
              <a:ext cx="2391371" cy="275745"/>
            </a:xfrm>
            <a:prstGeom prst="rect">
              <a:avLst/>
            </a:prstGeom>
          </p:spPr>
          <p:txBody>
            <a:bodyPr>
              <a:spAutoFit/>
            </a:bodyPr>
            <a:p>
              <a:endParaRPr lang="en-US" altLang="zh-CN" sz="1200" dirty="0"/>
            </a:p>
          </p:txBody>
        </p:sp>
      </p:grpSp>
      <p:grpSp>
        <p:nvGrpSpPr>
          <p:cNvPr id="9" name="Group 19"/>
          <p:cNvGrpSpPr/>
          <p:nvPr/>
        </p:nvGrpSpPr>
        <p:grpSpPr bwMode="auto">
          <a:xfrm>
            <a:off x="2054221" y="5359301"/>
            <a:ext cx="3666475" cy="694980"/>
            <a:chOff x="2155025" y="4449725"/>
            <a:chExt cx="2391371" cy="695372"/>
          </a:xfrm>
        </p:grpSpPr>
        <p:sp>
          <p:nvSpPr>
            <p:cNvPr id="10" name="TextBox 26"/>
            <p:cNvSpPr txBox="1"/>
            <p:nvPr/>
          </p:nvSpPr>
          <p:spPr>
            <a:xfrm>
              <a:off x="2155025" y="4449725"/>
              <a:ext cx="1742801" cy="5222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p>
              <a:r>
                <a:rPr lang="zh-CN" altLang="en-US" sz="2800" dirty="0"/>
                <a:t>下一个周期计划</a:t>
              </a:r>
              <a:endParaRPr lang="zh-CN" altLang="en-US" sz="2800" dirty="0"/>
            </a:p>
          </p:txBody>
        </p:sp>
        <p:sp>
          <p:nvSpPr>
            <p:cNvPr id="15" name="Rectangle 18"/>
            <p:cNvSpPr/>
            <p:nvPr/>
          </p:nvSpPr>
          <p:spPr>
            <a:xfrm>
              <a:off x="2155025" y="4869352"/>
              <a:ext cx="2391371" cy="275745"/>
            </a:xfrm>
            <a:prstGeom prst="rect">
              <a:avLst/>
            </a:prstGeom>
          </p:spPr>
          <p:txBody>
            <a:bodyPr>
              <a:spAutoFit/>
            </a:bodyPr>
            <a:p>
              <a:endParaRPr lang="en-US" altLang="zh-CN" sz="1200" dirty="0"/>
            </a:p>
          </p:txBody>
        </p:sp>
      </p:grp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tx2">
                <a:lumMod val="60000"/>
                <a:lumOff val="40000"/>
                <a:alpha val="57000"/>
              </a:schemeClr>
            </a:gs>
            <a:gs pos="0">
              <a:schemeClr val="tx2">
                <a:lumMod val="20000"/>
                <a:lumOff val="80000"/>
                <a:alpha val="0"/>
              </a:schemeClr>
            </a:gs>
          </a:gsLst>
          <a:lin ang="0" scaled="0"/>
        </a:gradFill>
        <a:effectLst/>
      </p:bgPr>
    </p:bg>
    <p:spTree>
      <p:nvGrpSpPr>
        <p:cNvPr id="1" name="iṥļ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877674" y="1306125"/>
            <a:ext cx="6388221" cy="3819942"/>
            <a:chOff x="2877674" y="1306125"/>
            <a:chExt cx="6388221" cy="3819942"/>
          </a:xfrm>
        </p:grpSpPr>
        <p:sp>
          <p:nvSpPr>
            <p:cNvPr id="12" name="îṡḻîdè"/>
            <p:cNvSpPr/>
            <p:nvPr userDrawn="1"/>
          </p:nvSpPr>
          <p:spPr>
            <a:xfrm rot="5772073">
              <a:off x="5493995" y="130612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6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îsḻíḍe"/>
            <p:cNvSpPr/>
            <p:nvPr userDrawn="1"/>
          </p:nvSpPr>
          <p:spPr>
            <a:xfrm rot="17450176">
              <a:off x="2877674" y="135416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4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6" name="组合 15"/>
          <p:cNvGrpSpPr/>
          <p:nvPr/>
        </p:nvGrpSpPr>
        <p:grpSpPr>
          <a:xfrm rot="16819500">
            <a:off x="11217593" y="532827"/>
            <a:ext cx="501013" cy="501013"/>
            <a:chOff x="3738861" y="1313527"/>
            <a:chExt cx="3771900" cy="3771900"/>
          </a:xfrm>
        </p:grpSpPr>
        <p:sp>
          <p:nvSpPr>
            <p:cNvPr id="17" name="îS1ïḋe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iślíḑè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rgbClr val="E8414C">
                    <a:alpha val="10000"/>
                  </a:srgb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îSļîdé"/>
          <p:cNvSpPr>
            <a:spLocks noGrp="1"/>
          </p:cNvSpPr>
          <p:nvPr>
            <p:ph type="body" sz="quarter" idx="10"/>
          </p:nvPr>
        </p:nvSpPr>
        <p:spPr>
          <a:xfrm>
            <a:off x="1373408" y="2100390"/>
            <a:ext cx="9445184" cy="1474043"/>
          </a:xfrm>
        </p:spPr>
        <p:txBody>
          <a:bodyPr/>
          <a:lstStyle/>
          <a:p>
            <a:pPr algn="ctr"/>
            <a:r>
              <a:rPr lang="en-US" altLang="zh-CN" sz="8800" b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!</a:t>
            </a:r>
            <a:endParaRPr lang="zh-CN" altLang="en-US" sz="11500" b="1" u="sng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46"/>
          <p:cNvSpPr txBox="1"/>
          <p:nvPr/>
        </p:nvSpPr>
        <p:spPr>
          <a:xfrm>
            <a:off x="4752792" y="2884327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dirty="0">
                <a:sym typeface="+mn-ea"/>
              </a:rPr>
              <a:t>项目展示</a:t>
            </a:r>
            <a:endParaRPr lang="en-US" sz="3600" dirty="0"/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02770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chemeClr val="accent4"/>
                </a:solidFill>
              </a:rPr>
              <a:t>PART 01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0" grpId="0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206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52792" y="2884327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dirty="0" smtClean="0"/>
              <a:t>项目执行过程</a:t>
            </a:r>
            <a:endParaRPr lang="zh-CN" altLang="en-US" sz="3600" dirty="0" smtClean="0"/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02770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chemeClr val="accent4"/>
                </a:solidFill>
              </a:rPr>
              <a:t>PART 02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99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ldLvl="0" animBg="1"/>
      <p:bldP spid="9" grpId="0"/>
      <p:bldP spid="10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矩形 79"/>
          <p:cNvSpPr/>
          <p:nvPr/>
        </p:nvSpPr>
        <p:spPr>
          <a:xfrm rot="1400643">
            <a:off x="11187986" y="3651676"/>
            <a:ext cx="1798292" cy="598659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grpSp>
        <p:nvGrpSpPr>
          <p:cNvPr id="81" name="1"/>
          <p:cNvGrpSpPr/>
          <p:nvPr>
            <p:custDataLst>
              <p:tags r:id="rId1"/>
            </p:custDataLst>
          </p:nvPr>
        </p:nvGrpSpPr>
        <p:grpSpPr>
          <a:xfrm>
            <a:off x="-12254" y="0"/>
            <a:ext cx="827667" cy="1055811"/>
            <a:chOff x="0" y="-21236"/>
            <a:chExt cx="3311527" cy="4224338"/>
          </a:xfrm>
        </p:grpSpPr>
        <p:sp>
          <p:nvSpPr>
            <p:cNvPr id="82" name="1"/>
            <p:cNvSpPr/>
            <p:nvPr/>
          </p:nvSpPr>
          <p:spPr bwMode="auto">
            <a:xfrm rot="5400000">
              <a:off x="-264318" y="627258"/>
              <a:ext cx="3840163" cy="3311525"/>
            </a:xfrm>
            <a:custGeom>
              <a:avLst/>
              <a:gdLst>
                <a:gd name="T0" fmla="*/ 0 w 2419"/>
                <a:gd name="T1" fmla="*/ 0 h 2086"/>
                <a:gd name="T2" fmla="*/ 753 w 2419"/>
                <a:gd name="T3" fmla="*/ 2008 h 2086"/>
                <a:gd name="T4" fmla="*/ 1228 w 2419"/>
                <a:gd name="T5" fmla="*/ 2086 h 2086"/>
                <a:gd name="T6" fmla="*/ 2419 w 2419"/>
                <a:gd name="T7" fmla="*/ 2086 h 2086"/>
                <a:gd name="T8" fmla="*/ 0 w 2419"/>
                <a:gd name="T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9" h="2086">
                  <a:moveTo>
                    <a:pt x="0" y="0"/>
                  </a:moveTo>
                  <a:lnTo>
                    <a:pt x="753" y="2008"/>
                  </a:lnTo>
                  <a:lnTo>
                    <a:pt x="1228" y="2086"/>
                  </a:lnTo>
                  <a:lnTo>
                    <a:pt x="2419" y="20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3" name="1"/>
            <p:cNvSpPr/>
            <p:nvPr/>
          </p:nvSpPr>
          <p:spPr bwMode="auto">
            <a:xfrm rot="5400000">
              <a:off x="927895" y="-825304"/>
              <a:ext cx="1579563" cy="3187700"/>
            </a:xfrm>
            <a:custGeom>
              <a:avLst/>
              <a:gdLst>
                <a:gd name="T0" fmla="*/ 242 w 995"/>
                <a:gd name="T1" fmla="*/ 0 h 2008"/>
                <a:gd name="T2" fmla="*/ 0 w 995"/>
                <a:gd name="T3" fmla="*/ 305 h 2008"/>
                <a:gd name="T4" fmla="*/ 0 w 995"/>
                <a:gd name="T5" fmla="*/ 1845 h 2008"/>
                <a:gd name="T6" fmla="*/ 995 w 995"/>
                <a:gd name="T7" fmla="*/ 2008 h 2008"/>
                <a:gd name="T8" fmla="*/ 242 w 995"/>
                <a:gd name="T9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5" h="2008">
                  <a:moveTo>
                    <a:pt x="242" y="0"/>
                  </a:moveTo>
                  <a:lnTo>
                    <a:pt x="0" y="305"/>
                  </a:lnTo>
                  <a:lnTo>
                    <a:pt x="0" y="1845"/>
                  </a:lnTo>
                  <a:lnTo>
                    <a:pt x="995" y="2008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4" name="1"/>
            <p:cNvSpPr/>
            <p:nvPr/>
          </p:nvSpPr>
          <p:spPr bwMode="auto">
            <a:xfrm rot="5400000">
              <a:off x="-975519" y="954283"/>
              <a:ext cx="2333625" cy="382588"/>
            </a:xfrm>
            <a:custGeom>
              <a:avLst/>
              <a:gdLst>
                <a:gd name="T0" fmla="*/ 0 w 1470"/>
                <a:gd name="T1" fmla="*/ 0 h 241"/>
                <a:gd name="T2" fmla="*/ 0 w 1470"/>
                <a:gd name="T3" fmla="*/ 233 h 241"/>
                <a:gd name="T4" fmla="*/ 0 w 1470"/>
                <a:gd name="T5" fmla="*/ 241 h 241"/>
                <a:gd name="T6" fmla="*/ 1470 w 1470"/>
                <a:gd name="T7" fmla="*/ 241 h 241"/>
                <a:gd name="T8" fmla="*/ 0 w 1470"/>
                <a:gd name="T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0" h="241">
                  <a:moveTo>
                    <a:pt x="0" y="0"/>
                  </a:moveTo>
                  <a:lnTo>
                    <a:pt x="0" y="233"/>
                  </a:lnTo>
                  <a:lnTo>
                    <a:pt x="0" y="241"/>
                  </a:lnTo>
                  <a:lnTo>
                    <a:pt x="1470" y="2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85" name="PA_文本框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3812" y="245783"/>
            <a:ext cx="1271270" cy="535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17" tIns="60958" rIns="121917" bIns="60958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zh-CN" altLang="en-US" sz="27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原计划</a:t>
            </a:r>
            <a:endParaRPr lang="en-US" altLang="zh-CN" sz="2700" dirty="0">
              <a:solidFill>
                <a:schemeClr val="accent3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2" name="图片 1" descr="项目进度表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432050" y="648970"/>
            <a:ext cx="7327265" cy="55594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bldLvl="0" animBg="1"/>
      <p:bldP spid="85" grpId="0" bldLvl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矩形 79"/>
          <p:cNvSpPr/>
          <p:nvPr/>
        </p:nvSpPr>
        <p:spPr>
          <a:xfrm rot="1400643">
            <a:off x="11187986" y="3651676"/>
            <a:ext cx="1798292" cy="598659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grpSp>
        <p:nvGrpSpPr>
          <p:cNvPr id="81" name="1"/>
          <p:cNvGrpSpPr/>
          <p:nvPr>
            <p:custDataLst>
              <p:tags r:id="rId1"/>
            </p:custDataLst>
          </p:nvPr>
        </p:nvGrpSpPr>
        <p:grpSpPr>
          <a:xfrm>
            <a:off x="-12254" y="0"/>
            <a:ext cx="827667" cy="1055811"/>
            <a:chOff x="0" y="-21236"/>
            <a:chExt cx="3311527" cy="4224338"/>
          </a:xfrm>
        </p:grpSpPr>
        <p:sp>
          <p:nvSpPr>
            <p:cNvPr id="82" name="1"/>
            <p:cNvSpPr/>
            <p:nvPr/>
          </p:nvSpPr>
          <p:spPr bwMode="auto">
            <a:xfrm rot="5400000">
              <a:off x="-264318" y="627258"/>
              <a:ext cx="3840163" cy="3311525"/>
            </a:xfrm>
            <a:custGeom>
              <a:avLst/>
              <a:gdLst>
                <a:gd name="T0" fmla="*/ 0 w 2419"/>
                <a:gd name="T1" fmla="*/ 0 h 2086"/>
                <a:gd name="T2" fmla="*/ 753 w 2419"/>
                <a:gd name="T3" fmla="*/ 2008 h 2086"/>
                <a:gd name="T4" fmla="*/ 1228 w 2419"/>
                <a:gd name="T5" fmla="*/ 2086 h 2086"/>
                <a:gd name="T6" fmla="*/ 2419 w 2419"/>
                <a:gd name="T7" fmla="*/ 2086 h 2086"/>
                <a:gd name="T8" fmla="*/ 0 w 2419"/>
                <a:gd name="T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9" h="2086">
                  <a:moveTo>
                    <a:pt x="0" y="0"/>
                  </a:moveTo>
                  <a:lnTo>
                    <a:pt x="753" y="2008"/>
                  </a:lnTo>
                  <a:lnTo>
                    <a:pt x="1228" y="2086"/>
                  </a:lnTo>
                  <a:lnTo>
                    <a:pt x="2419" y="20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3" name="1"/>
            <p:cNvSpPr/>
            <p:nvPr/>
          </p:nvSpPr>
          <p:spPr bwMode="auto">
            <a:xfrm rot="5400000">
              <a:off x="927895" y="-825304"/>
              <a:ext cx="1579563" cy="3187700"/>
            </a:xfrm>
            <a:custGeom>
              <a:avLst/>
              <a:gdLst>
                <a:gd name="T0" fmla="*/ 242 w 995"/>
                <a:gd name="T1" fmla="*/ 0 h 2008"/>
                <a:gd name="T2" fmla="*/ 0 w 995"/>
                <a:gd name="T3" fmla="*/ 305 h 2008"/>
                <a:gd name="T4" fmla="*/ 0 w 995"/>
                <a:gd name="T5" fmla="*/ 1845 h 2008"/>
                <a:gd name="T6" fmla="*/ 995 w 995"/>
                <a:gd name="T7" fmla="*/ 2008 h 2008"/>
                <a:gd name="T8" fmla="*/ 242 w 995"/>
                <a:gd name="T9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5" h="2008">
                  <a:moveTo>
                    <a:pt x="242" y="0"/>
                  </a:moveTo>
                  <a:lnTo>
                    <a:pt x="0" y="305"/>
                  </a:lnTo>
                  <a:lnTo>
                    <a:pt x="0" y="1845"/>
                  </a:lnTo>
                  <a:lnTo>
                    <a:pt x="995" y="2008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4" name="1"/>
            <p:cNvSpPr/>
            <p:nvPr/>
          </p:nvSpPr>
          <p:spPr bwMode="auto">
            <a:xfrm rot="5400000">
              <a:off x="-975519" y="954283"/>
              <a:ext cx="2333625" cy="382588"/>
            </a:xfrm>
            <a:custGeom>
              <a:avLst/>
              <a:gdLst>
                <a:gd name="T0" fmla="*/ 0 w 1470"/>
                <a:gd name="T1" fmla="*/ 0 h 241"/>
                <a:gd name="T2" fmla="*/ 0 w 1470"/>
                <a:gd name="T3" fmla="*/ 233 h 241"/>
                <a:gd name="T4" fmla="*/ 0 w 1470"/>
                <a:gd name="T5" fmla="*/ 241 h 241"/>
                <a:gd name="T6" fmla="*/ 1470 w 1470"/>
                <a:gd name="T7" fmla="*/ 241 h 241"/>
                <a:gd name="T8" fmla="*/ 0 w 1470"/>
                <a:gd name="T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0" h="241">
                  <a:moveTo>
                    <a:pt x="0" y="0"/>
                  </a:moveTo>
                  <a:lnTo>
                    <a:pt x="0" y="233"/>
                  </a:lnTo>
                  <a:lnTo>
                    <a:pt x="0" y="241"/>
                  </a:lnTo>
                  <a:lnTo>
                    <a:pt x="1470" y="2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85" name="PA_文本框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3812" y="245783"/>
            <a:ext cx="1614170" cy="535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17" tIns="60958" rIns="121917" bIns="60958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zh-CN" altLang="en-US" sz="27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实际执行</a:t>
            </a:r>
            <a:endParaRPr lang="en-US" altLang="zh-CN" sz="2700" dirty="0">
              <a:solidFill>
                <a:schemeClr val="accent3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815340" y="1167130"/>
            <a:ext cx="1011809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/>
              <a:t>技术风险：</a:t>
            </a:r>
            <a:endParaRPr lang="zh-CN" altLang="en-US" sz="2000"/>
          </a:p>
          <a:p>
            <a:r>
              <a:rPr lang="en-US" altLang="zh-CN" sz="2000"/>
              <a:t>	</a:t>
            </a:r>
            <a:endParaRPr lang="en-US" altLang="zh-CN" sz="2000"/>
          </a:p>
          <a:p>
            <a:r>
              <a:rPr lang="en-US" altLang="zh-CN" sz="2000"/>
              <a:t>	</a:t>
            </a:r>
            <a:r>
              <a:rPr lang="zh-CN" altLang="en-US" sz="2000"/>
              <a:t>技术不熟悉，没有</a:t>
            </a:r>
            <a:r>
              <a:rPr lang="en-US" altLang="zh-CN" sz="2000"/>
              <a:t>JAVA</a:t>
            </a:r>
            <a:r>
              <a:rPr lang="zh-CN" altLang="en-US" sz="2000"/>
              <a:t>开发经验</a:t>
            </a:r>
            <a:endParaRPr lang="zh-CN" altLang="en-US" sz="2000"/>
          </a:p>
          <a:p>
            <a:r>
              <a:rPr lang="en-US" altLang="zh-CN" sz="2000"/>
              <a:t>		     </a:t>
            </a:r>
            <a:endParaRPr lang="en-US" altLang="zh-CN" sz="2000"/>
          </a:p>
          <a:p>
            <a:r>
              <a:rPr lang="en-US" altLang="zh-CN" sz="2000"/>
              <a:t>	</a:t>
            </a:r>
            <a:r>
              <a:rPr lang="zh-CN" altLang="en-US" sz="2000"/>
              <a:t>没有预留技术学习和环境配置的时间</a:t>
            </a:r>
            <a:endParaRPr lang="zh-CN" altLang="en-US" sz="2000"/>
          </a:p>
          <a:p>
            <a:endParaRPr lang="zh-CN" altLang="en-US" sz="2000"/>
          </a:p>
          <a:p>
            <a:r>
              <a:rPr lang="zh-CN" altLang="en-US" sz="2000"/>
              <a:t>人事风险：</a:t>
            </a:r>
            <a:endParaRPr lang="zh-CN" altLang="en-US" sz="2000"/>
          </a:p>
          <a:p>
            <a:r>
              <a:rPr lang="en-US" altLang="zh-CN" sz="2000"/>
              <a:t>	</a:t>
            </a:r>
            <a:endParaRPr lang="en-US" altLang="zh-CN" sz="2000"/>
          </a:p>
          <a:p>
            <a:r>
              <a:rPr lang="en-US" altLang="zh-CN" sz="2000"/>
              <a:t>	</a:t>
            </a:r>
            <a:r>
              <a:rPr lang="zh-CN" altLang="en-US" sz="2000"/>
              <a:t>成员空闲时间段不同</a:t>
            </a:r>
            <a:endParaRPr lang="zh-CN" altLang="en-US" sz="2000"/>
          </a:p>
          <a:p>
            <a:r>
              <a:rPr lang="en-US" altLang="zh-CN" sz="2000"/>
              <a:t>		     </a:t>
            </a:r>
            <a:endParaRPr lang="en-US" altLang="zh-CN" sz="2000"/>
          </a:p>
          <a:p>
            <a:r>
              <a:rPr lang="en-US" altLang="zh-CN" sz="2000"/>
              <a:t>	</a:t>
            </a:r>
            <a:r>
              <a:rPr lang="zh-CN" altLang="en-US" sz="2000"/>
              <a:t>在原计划中某些时间节点有其他任务</a:t>
            </a:r>
            <a:endParaRPr lang="zh-CN" altLang="en-US" sz="2000"/>
          </a:p>
          <a:p>
            <a:endParaRPr lang="zh-CN" altLang="en-US" sz="20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bldLvl="0" animBg="1"/>
      <p:bldP spid="85" grpId="0" bldLvl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/>
          <p:cNvSpPr txBox="1"/>
          <p:nvPr/>
        </p:nvSpPr>
        <p:spPr>
          <a:xfrm>
            <a:off x="1949751" y="3607769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中期工作</a:t>
            </a:r>
            <a:endParaRPr lang="zh-CN" alt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5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登录和帖子模块</a:t>
            </a:r>
            <a:endParaRPr lang="zh-CN" alt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 Placeholder 5"/>
          <p:cNvSpPr txBox="1"/>
          <p:nvPr/>
        </p:nvSpPr>
        <p:spPr>
          <a:xfrm>
            <a:off x="1295466" y="1072312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/>
              <a:t>计划调整</a:t>
            </a:r>
            <a:endParaRPr lang="zh-CN" altLang="en-US" sz="2400" dirty="0"/>
          </a:p>
        </p:txBody>
      </p:sp>
      <p:sp>
        <p:nvSpPr>
          <p:cNvPr id="5" name="Text Placeholder 13"/>
          <p:cNvSpPr txBox="1"/>
          <p:nvPr/>
        </p:nvSpPr>
        <p:spPr>
          <a:xfrm>
            <a:off x="1949751" y="3307165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/>
              <a:t>李嘉兴</a:t>
            </a:r>
            <a:endParaRPr lang="zh-CN" altLang="en-US" sz="1500" dirty="0"/>
          </a:p>
        </p:txBody>
      </p:sp>
      <p:sp>
        <p:nvSpPr>
          <p:cNvPr id="6" name="Text Placeholder 14"/>
          <p:cNvSpPr txBox="1"/>
          <p:nvPr/>
        </p:nvSpPr>
        <p:spPr>
          <a:xfrm>
            <a:off x="1949751" y="503278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后期工作</a:t>
            </a:r>
            <a:endParaRPr lang="zh-CN" alt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5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评论和其他功能</a:t>
            </a:r>
            <a:endParaRPr lang="zh-CN" alt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 Placeholder 15"/>
          <p:cNvSpPr txBox="1"/>
          <p:nvPr/>
        </p:nvSpPr>
        <p:spPr>
          <a:xfrm>
            <a:off x="1949751" y="478830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/>
              <a:t>史纬地</a:t>
            </a:r>
            <a:endParaRPr lang="zh-CN" altLang="en-US" sz="1500" dirty="0"/>
          </a:p>
        </p:txBody>
      </p:sp>
      <p:sp>
        <p:nvSpPr>
          <p:cNvPr id="8" name="Text Placeholder 16"/>
          <p:cNvSpPr txBox="1"/>
          <p:nvPr/>
        </p:nvSpPr>
        <p:spPr>
          <a:xfrm>
            <a:off x="1952625" y="2071370"/>
            <a:ext cx="3399155" cy="1235710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项目经理</a:t>
            </a:r>
            <a:endParaRPr lang="zh-CN" alt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5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前期工作</a:t>
            </a:r>
            <a:endParaRPr lang="zh-CN" alt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5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编写文档</a:t>
            </a:r>
            <a:r>
              <a:rPr lang="en-US" altLang="zh-CN" sz="15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</a:t>
            </a:r>
            <a:endParaRPr lang="en-US" altLang="zh-CN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5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协调和帮助其他成员完成工作</a:t>
            </a:r>
            <a:endParaRPr lang="zh-CN" alt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 Placeholder 17"/>
          <p:cNvSpPr txBox="1"/>
          <p:nvPr/>
        </p:nvSpPr>
        <p:spPr>
          <a:xfrm>
            <a:off x="1952919" y="1823310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/>
              <a:t>刘国锋</a:t>
            </a:r>
            <a:endParaRPr lang="zh-CN" altLang="en-US" sz="1500" dirty="0"/>
          </a:p>
        </p:txBody>
      </p:sp>
      <p:sp>
        <p:nvSpPr>
          <p:cNvPr id="10" name="Freeform 10"/>
          <p:cNvSpPr>
            <a:spLocks noChangeAspect="1" noEditPoints="1"/>
          </p:cNvSpPr>
          <p:nvPr/>
        </p:nvSpPr>
        <p:spPr bwMode="auto">
          <a:xfrm>
            <a:off x="1295467" y="3455145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1" name="Freeform 34"/>
          <p:cNvSpPr>
            <a:spLocks noChangeAspect="1" noEditPoints="1"/>
          </p:cNvSpPr>
          <p:nvPr/>
        </p:nvSpPr>
        <p:spPr bwMode="auto">
          <a:xfrm>
            <a:off x="1296136" y="4936281"/>
            <a:ext cx="360000" cy="359945"/>
          </a:xfrm>
          <a:custGeom>
            <a:avLst/>
            <a:gdLst>
              <a:gd name="T0" fmla="*/ 682 w 800"/>
              <a:gd name="T1" fmla="*/ 118 h 813"/>
              <a:gd name="T2" fmla="*/ 400 w 800"/>
              <a:gd name="T3" fmla="*/ 0 h 813"/>
              <a:gd name="T4" fmla="*/ 117 w 800"/>
              <a:gd name="T5" fmla="*/ 118 h 813"/>
              <a:gd name="T6" fmla="*/ 0 w 800"/>
              <a:gd name="T7" fmla="*/ 400 h 813"/>
              <a:gd name="T8" fmla="*/ 117 w 800"/>
              <a:gd name="T9" fmla="*/ 683 h 813"/>
              <a:gd name="T10" fmla="*/ 400 w 800"/>
              <a:gd name="T11" fmla="*/ 800 h 813"/>
              <a:gd name="T12" fmla="*/ 682 w 800"/>
              <a:gd name="T13" fmla="*/ 683 h 813"/>
              <a:gd name="T14" fmla="*/ 800 w 800"/>
              <a:gd name="T15" fmla="*/ 400 h 813"/>
              <a:gd name="T16" fmla="*/ 682 w 800"/>
              <a:gd name="T17" fmla="*/ 118 h 813"/>
              <a:gd name="T18" fmla="*/ 673 w 800"/>
              <a:gd name="T19" fmla="*/ 658 h 813"/>
              <a:gd name="T20" fmla="*/ 612 w 800"/>
              <a:gd name="T21" fmla="*/ 596 h 813"/>
              <a:gd name="T22" fmla="*/ 773 w 800"/>
              <a:gd name="T23" fmla="*/ 435 h 813"/>
              <a:gd name="T24" fmla="*/ 673 w 800"/>
              <a:gd name="T25" fmla="*/ 658 h 813"/>
              <a:gd name="T26" fmla="*/ 417 w 800"/>
              <a:gd name="T27" fmla="*/ 400 h 813"/>
              <a:gd name="T28" fmla="*/ 675 w 800"/>
              <a:gd name="T29" fmla="*/ 143 h 813"/>
              <a:gd name="T30" fmla="*/ 740 w 800"/>
              <a:gd name="T31" fmla="*/ 238 h 813"/>
              <a:gd name="T32" fmla="*/ 738 w 800"/>
              <a:gd name="T33" fmla="*/ 238 h 813"/>
              <a:gd name="T34" fmla="*/ 497 w 800"/>
              <a:gd name="T35" fmla="*/ 479 h 813"/>
              <a:gd name="T36" fmla="*/ 417 w 800"/>
              <a:gd name="T37" fmla="*/ 400 h 813"/>
              <a:gd name="T38" fmla="*/ 412 w 800"/>
              <a:gd name="T39" fmla="*/ 25 h 813"/>
              <a:gd name="T40" fmla="*/ 538 w 800"/>
              <a:gd name="T41" fmla="*/ 51 h 813"/>
              <a:gd name="T42" fmla="*/ 412 w 800"/>
              <a:gd name="T43" fmla="*/ 178 h 813"/>
              <a:gd name="T44" fmla="*/ 412 w 800"/>
              <a:gd name="T45" fmla="*/ 25 h 813"/>
              <a:gd name="T46" fmla="*/ 412 w 800"/>
              <a:gd name="T47" fmla="*/ 211 h 813"/>
              <a:gd name="T48" fmla="*/ 562 w 800"/>
              <a:gd name="T49" fmla="*/ 61 h 813"/>
              <a:gd name="T50" fmla="*/ 657 w 800"/>
              <a:gd name="T51" fmla="*/ 126 h 813"/>
              <a:gd name="T52" fmla="*/ 412 w 800"/>
              <a:gd name="T53" fmla="*/ 371 h 813"/>
              <a:gd name="T54" fmla="*/ 412 w 800"/>
              <a:gd name="T55" fmla="*/ 211 h 813"/>
              <a:gd name="T56" fmla="*/ 748 w 800"/>
              <a:gd name="T57" fmla="*/ 261 h 813"/>
              <a:gd name="T58" fmla="*/ 775 w 800"/>
              <a:gd name="T59" fmla="*/ 398 h 813"/>
              <a:gd name="T60" fmla="*/ 595 w 800"/>
              <a:gd name="T61" fmla="*/ 578 h 813"/>
              <a:gd name="T62" fmla="*/ 513 w 800"/>
              <a:gd name="T63" fmla="*/ 496 h 813"/>
              <a:gd name="T64" fmla="*/ 748 w 800"/>
              <a:gd name="T65" fmla="*/ 261 h 813"/>
              <a:gd name="T66" fmla="*/ 133 w 800"/>
              <a:gd name="T67" fmla="*/ 666 h 813"/>
              <a:gd name="T68" fmla="*/ 23 w 800"/>
              <a:gd name="T69" fmla="*/ 400 h 813"/>
              <a:gd name="T70" fmla="*/ 133 w 800"/>
              <a:gd name="T71" fmla="*/ 134 h 813"/>
              <a:gd name="T72" fmla="*/ 387 w 800"/>
              <a:gd name="T73" fmla="*/ 24 h 813"/>
              <a:gd name="T74" fmla="*/ 387 w 800"/>
              <a:gd name="T75" fmla="*/ 205 h 813"/>
              <a:gd name="T76" fmla="*/ 387 w 800"/>
              <a:gd name="T77" fmla="*/ 205 h 813"/>
              <a:gd name="T78" fmla="*/ 387 w 800"/>
              <a:gd name="T79" fmla="*/ 399 h 813"/>
              <a:gd name="T80" fmla="*/ 391 w 800"/>
              <a:gd name="T81" fmla="*/ 408 h 813"/>
              <a:gd name="T82" fmla="*/ 391 w 800"/>
              <a:gd name="T83" fmla="*/ 408 h 813"/>
              <a:gd name="T84" fmla="*/ 488 w 800"/>
              <a:gd name="T85" fmla="*/ 505 h 813"/>
              <a:gd name="T86" fmla="*/ 488 w 800"/>
              <a:gd name="T87" fmla="*/ 505 h 813"/>
              <a:gd name="T88" fmla="*/ 488 w 800"/>
              <a:gd name="T89" fmla="*/ 505 h 813"/>
              <a:gd name="T90" fmla="*/ 657 w 800"/>
              <a:gd name="T91" fmla="*/ 674 h 813"/>
              <a:gd name="T92" fmla="*/ 133 w 800"/>
              <a:gd name="T93" fmla="*/ 666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13">
                <a:moveTo>
                  <a:pt x="682" y="118"/>
                </a:moveTo>
                <a:cubicBezTo>
                  <a:pt x="607" y="43"/>
                  <a:pt x="506" y="0"/>
                  <a:pt x="400" y="0"/>
                </a:cubicBezTo>
                <a:cubicBezTo>
                  <a:pt x="293" y="0"/>
                  <a:pt x="192" y="41"/>
                  <a:pt x="117" y="118"/>
                </a:cubicBezTo>
                <a:cubicBezTo>
                  <a:pt x="42" y="193"/>
                  <a:pt x="0" y="294"/>
                  <a:pt x="0" y="400"/>
                </a:cubicBezTo>
                <a:cubicBezTo>
                  <a:pt x="0" y="506"/>
                  <a:pt x="41" y="608"/>
                  <a:pt x="117" y="683"/>
                </a:cubicBezTo>
                <a:cubicBezTo>
                  <a:pt x="195" y="760"/>
                  <a:pt x="297" y="800"/>
                  <a:pt x="400" y="800"/>
                </a:cubicBezTo>
                <a:cubicBezTo>
                  <a:pt x="502" y="800"/>
                  <a:pt x="605" y="761"/>
                  <a:pt x="682" y="683"/>
                </a:cubicBezTo>
                <a:cubicBezTo>
                  <a:pt x="757" y="608"/>
                  <a:pt x="800" y="506"/>
                  <a:pt x="800" y="400"/>
                </a:cubicBezTo>
                <a:cubicBezTo>
                  <a:pt x="800" y="294"/>
                  <a:pt x="758" y="193"/>
                  <a:pt x="682" y="118"/>
                </a:cubicBezTo>
                <a:close/>
                <a:moveTo>
                  <a:pt x="673" y="658"/>
                </a:moveTo>
                <a:lnTo>
                  <a:pt x="612" y="596"/>
                </a:lnTo>
                <a:lnTo>
                  <a:pt x="773" y="435"/>
                </a:lnTo>
                <a:cubicBezTo>
                  <a:pt x="766" y="517"/>
                  <a:pt x="732" y="595"/>
                  <a:pt x="673" y="658"/>
                </a:cubicBezTo>
                <a:close/>
                <a:moveTo>
                  <a:pt x="417" y="400"/>
                </a:moveTo>
                <a:lnTo>
                  <a:pt x="675" y="143"/>
                </a:lnTo>
                <a:cubicBezTo>
                  <a:pt x="701" y="171"/>
                  <a:pt x="723" y="203"/>
                  <a:pt x="740" y="238"/>
                </a:cubicBezTo>
                <a:lnTo>
                  <a:pt x="738" y="238"/>
                </a:lnTo>
                <a:lnTo>
                  <a:pt x="497" y="479"/>
                </a:lnTo>
                <a:lnTo>
                  <a:pt x="417" y="400"/>
                </a:lnTo>
                <a:close/>
                <a:moveTo>
                  <a:pt x="412" y="25"/>
                </a:moveTo>
                <a:cubicBezTo>
                  <a:pt x="456" y="26"/>
                  <a:pt x="498" y="35"/>
                  <a:pt x="538" y="51"/>
                </a:cubicBezTo>
                <a:lnTo>
                  <a:pt x="412" y="178"/>
                </a:lnTo>
                <a:lnTo>
                  <a:pt x="412" y="25"/>
                </a:lnTo>
                <a:close/>
                <a:moveTo>
                  <a:pt x="412" y="211"/>
                </a:moveTo>
                <a:lnTo>
                  <a:pt x="562" y="61"/>
                </a:lnTo>
                <a:cubicBezTo>
                  <a:pt x="596" y="78"/>
                  <a:pt x="628" y="100"/>
                  <a:pt x="657" y="126"/>
                </a:cubicBezTo>
                <a:lnTo>
                  <a:pt x="412" y="371"/>
                </a:lnTo>
                <a:lnTo>
                  <a:pt x="412" y="211"/>
                </a:lnTo>
                <a:close/>
                <a:moveTo>
                  <a:pt x="748" y="261"/>
                </a:moveTo>
                <a:cubicBezTo>
                  <a:pt x="766" y="304"/>
                  <a:pt x="775" y="350"/>
                  <a:pt x="775" y="398"/>
                </a:cubicBezTo>
                <a:lnTo>
                  <a:pt x="595" y="578"/>
                </a:lnTo>
                <a:lnTo>
                  <a:pt x="513" y="496"/>
                </a:lnTo>
                <a:lnTo>
                  <a:pt x="748" y="261"/>
                </a:lnTo>
                <a:close/>
                <a:moveTo>
                  <a:pt x="133" y="666"/>
                </a:moveTo>
                <a:cubicBezTo>
                  <a:pt x="62" y="595"/>
                  <a:pt x="23" y="501"/>
                  <a:pt x="23" y="400"/>
                </a:cubicBezTo>
                <a:cubicBezTo>
                  <a:pt x="23" y="299"/>
                  <a:pt x="62" y="205"/>
                  <a:pt x="133" y="134"/>
                </a:cubicBezTo>
                <a:cubicBezTo>
                  <a:pt x="201" y="66"/>
                  <a:pt x="291" y="28"/>
                  <a:pt x="387" y="24"/>
                </a:cubicBezTo>
                <a:lnTo>
                  <a:pt x="387" y="205"/>
                </a:lnTo>
                <a:lnTo>
                  <a:pt x="387" y="205"/>
                </a:lnTo>
                <a:lnTo>
                  <a:pt x="387" y="399"/>
                </a:lnTo>
                <a:cubicBezTo>
                  <a:pt x="387" y="401"/>
                  <a:pt x="388" y="405"/>
                  <a:pt x="391" y="408"/>
                </a:cubicBezTo>
                <a:lnTo>
                  <a:pt x="391" y="408"/>
                </a:lnTo>
                <a:lnTo>
                  <a:pt x="488" y="505"/>
                </a:lnTo>
                <a:lnTo>
                  <a:pt x="488" y="505"/>
                </a:lnTo>
                <a:lnTo>
                  <a:pt x="488" y="505"/>
                </a:lnTo>
                <a:lnTo>
                  <a:pt x="657" y="674"/>
                </a:lnTo>
                <a:cubicBezTo>
                  <a:pt x="510" y="813"/>
                  <a:pt x="277" y="810"/>
                  <a:pt x="133" y="666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/>
          <p:cNvSpPr>
            <a:spLocks noChangeAspect="1" noEditPoints="1"/>
          </p:cNvSpPr>
          <p:nvPr/>
        </p:nvSpPr>
        <p:spPr bwMode="auto">
          <a:xfrm>
            <a:off x="1296137" y="1971289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576053" y="-26918"/>
            <a:ext cx="4320480" cy="6911836"/>
          </a:xfrm>
          <a:prstGeom prst="rect">
            <a:avLst/>
          </a:prstGeom>
          <a:blipFill dpi="0" rotWithShape="1">
            <a:blip r:embed="rId1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50000" r="-50000"/>
            </a:stretch>
          </a:blipFill>
          <a:ln w="38100">
            <a:noFill/>
          </a:ln>
          <a:effectLst>
            <a:outerShdw blurRad="647700" dist="190500" dir="21540000" algn="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矩形 79"/>
          <p:cNvSpPr/>
          <p:nvPr/>
        </p:nvSpPr>
        <p:spPr>
          <a:xfrm rot="1400643">
            <a:off x="11187986" y="3651676"/>
            <a:ext cx="1798292" cy="598659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 dirty="0"/>
          </a:p>
        </p:txBody>
      </p:sp>
      <p:grpSp>
        <p:nvGrpSpPr>
          <p:cNvPr id="81" name="1"/>
          <p:cNvGrpSpPr/>
          <p:nvPr>
            <p:custDataLst>
              <p:tags r:id="rId1"/>
            </p:custDataLst>
          </p:nvPr>
        </p:nvGrpSpPr>
        <p:grpSpPr>
          <a:xfrm>
            <a:off x="-12254" y="0"/>
            <a:ext cx="827667" cy="1055811"/>
            <a:chOff x="0" y="-21236"/>
            <a:chExt cx="3311527" cy="4224338"/>
          </a:xfrm>
        </p:grpSpPr>
        <p:sp>
          <p:nvSpPr>
            <p:cNvPr id="82" name="1"/>
            <p:cNvSpPr/>
            <p:nvPr/>
          </p:nvSpPr>
          <p:spPr bwMode="auto">
            <a:xfrm rot="5400000">
              <a:off x="-264318" y="627258"/>
              <a:ext cx="3840163" cy="3311525"/>
            </a:xfrm>
            <a:custGeom>
              <a:avLst/>
              <a:gdLst>
                <a:gd name="T0" fmla="*/ 0 w 2419"/>
                <a:gd name="T1" fmla="*/ 0 h 2086"/>
                <a:gd name="T2" fmla="*/ 753 w 2419"/>
                <a:gd name="T3" fmla="*/ 2008 h 2086"/>
                <a:gd name="T4" fmla="*/ 1228 w 2419"/>
                <a:gd name="T5" fmla="*/ 2086 h 2086"/>
                <a:gd name="T6" fmla="*/ 2419 w 2419"/>
                <a:gd name="T7" fmla="*/ 2086 h 2086"/>
                <a:gd name="T8" fmla="*/ 0 w 2419"/>
                <a:gd name="T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9" h="2086">
                  <a:moveTo>
                    <a:pt x="0" y="0"/>
                  </a:moveTo>
                  <a:lnTo>
                    <a:pt x="753" y="2008"/>
                  </a:lnTo>
                  <a:lnTo>
                    <a:pt x="1228" y="2086"/>
                  </a:lnTo>
                  <a:lnTo>
                    <a:pt x="2419" y="20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3" name="1"/>
            <p:cNvSpPr/>
            <p:nvPr/>
          </p:nvSpPr>
          <p:spPr bwMode="auto">
            <a:xfrm rot="5400000">
              <a:off x="927895" y="-825304"/>
              <a:ext cx="1579563" cy="3187700"/>
            </a:xfrm>
            <a:custGeom>
              <a:avLst/>
              <a:gdLst>
                <a:gd name="T0" fmla="*/ 242 w 995"/>
                <a:gd name="T1" fmla="*/ 0 h 2008"/>
                <a:gd name="T2" fmla="*/ 0 w 995"/>
                <a:gd name="T3" fmla="*/ 305 h 2008"/>
                <a:gd name="T4" fmla="*/ 0 w 995"/>
                <a:gd name="T5" fmla="*/ 1845 h 2008"/>
                <a:gd name="T6" fmla="*/ 995 w 995"/>
                <a:gd name="T7" fmla="*/ 2008 h 2008"/>
                <a:gd name="T8" fmla="*/ 242 w 995"/>
                <a:gd name="T9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5" h="2008">
                  <a:moveTo>
                    <a:pt x="242" y="0"/>
                  </a:moveTo>
                  <a:lnTo>
                    <a:pt x="0" y="305"/>
                  </a:lnTo>
                  <a:lnTo>
                    <a:pt x="0" y="1845"/>
                  </a:lnTo>
                  <a:lnTo>
                    <a:pt x="995" y="2008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4" name="1"/>
            <p:cNvSpPr/>
            <p:nvPr/>
          </p:nvSpPr>
          <p:spPr bwMode="auto">
            <a:xfrm rot="5400000">
              <a:off x="-975519" y="954283"/>
              <a:ext cx="2333625" cy="382588"/>
            </a:xfrm>
            <a:custGeom>
              <a:avLst/>
              <a:gdLst>
                <a:gd name="T0" fmla="*/ 0 w 1470"/>
                <a:gd name="T1" fmla="*/ 0 h 241"/>
                <a:gd name="T2" fmla="*/ 0 w 1470"/>
                <a:gd name="T3" fmla="*/ 233 h 241"/>
                <a:gd name="T4" fmla="*/ 0 w 1470"/>
                <a:gd name="T5" fmla="*/ 241 h 241"/>
                <a:gd name="T6" fmla="*/ 1470 w 1470"/>
                <a:gd name="T7" fmla="*/ 241 h 241"/>
                <a:gd name="T8" fmla="*/ 0 w 1470"/>
                <a:gd name="T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0" h="241">
                  <a:moveTo>
                    <a:pt x="0" y="0"/>
                  </a:moveTo>
                  <a:lnTo>
                    <a:pt x="0" y="233"/>
                  </a:lnTo>
                  <a:lnTo>
                    <a:pt x="0" y="241"/>
                  </a:lnTo>
                  <a:lnTo>
                    <a:pt x="1470" y="2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85" name="PA_文本框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3812" y="245783"/>
            <a:ext cx="1233170" cy="535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17" tIns="60958" rIns="121917" bIns="60958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US" altLang="zh-CN" sz="27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Git log</a:t>
            </a:r>
            <a:endParaRPr lang="en-US" altLang="zh-CN" sz="27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3760" y="733425"/>
            <a:ext cx="6181725" cy="61245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bldLvl="0" animBg="1"/>
      <p:bldP spid="85" grpId="0" bldLvl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206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52792" y="2884327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dirty="0" smtClean="0"/>
              <a:t>风险管理计划</a:t>
            </a:r>
            <a:endParaRPr lang="zh-CN" altLang="en-US" sz="3600" dirty="0" smtClean="0"/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02770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chemeClr val="accent4"/>
                </a:solidFill>
              </a:rPr>
              <a:t>PART 03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14:gallery dir="l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99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ldLvl="0" animBg="1"/>
      <p:bldP spid="9" grpId="0"/>
      <p:bldP spid="10" grpId="0"/>
      <p:bldP spid="11" grpId="0"/>
    </p:bldLst>
  </p:timing>
</p:sld>
</file>

<file path=ppt/tags/tag1.xml><?xml version="1.0" encoding="utf-8"?>
<p:tagLst xmlns:p="http://schemas.openxmlformats.org/presentationml/2006/main">
  <p:tag name="ISLIDE.THEME" val="https://www.islide.cc;"/>
</p:tagLst>
</file>

<file path=ppt/tags/tag10.xml><?xml version="1.0" encoding="utf-8"?>
<p:tagLst xmlns:p="http://schemas.openxmlformats.org/presentationml/2006/main">
  <p:tag name="PA" val="v3.0.0"/>
</p:tagLst>
</file>

<file path=ppt/tags/tag11.xml><?xml version="1.0" encoding="utf-8"?>
<p:tagLst xmlns:p="http://schemas.openxmlformats.org/presentationml/2006/main">
  <p:tag name="KSO_WM_UNIT_PLACING_PICTURE_USER_VIEWPORT" val="{&quot;height&quot;:8755,&quot;width&quot;:11539}"/>
</p:tagLst>
</file>

<file path=ppt/tags/tag12.xml><?xml version="1.0" encoding="utf-8"?>
<p:tagLst xmlns:p="http://schemas.openxmlformats.org/presentationml/2006/main">
  <p:tag name="PA" val="v3.0.0"/>
</p:tagLst>
</file>

<file path=ppt/tags/tag13.xml><?xml version="1.0" encoding="utf-8"?>
<p:tagLst xmlns:p="http://schemas.openxmlformats.org/presentationml/2006/main">
  <p:tag name="PA" val="v3.0.0"/>
</p:tagLst>
</file>

<file path=ppt/tags/tag14.xml><?xml version="1.0" encoding="utf-8"?>
<p:tagLst xmlns:p="http://schemas.openxmlformats.org/presentationml/2006/main">
  <p:tag name="PA" val="v3.0.0"/>
</p:tagLst>
</file>

<file path=ppt/tags/tag15.xml><?xml version="1.0" encoding="utf-8"?>
<p:tagLst xmlns:p="http://schemas.openxmlformats.org/presentationml/2006/main">
  <p:tag name="PA" val="v3.0.0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1Smkff3fSzGMOuItfjj3Fw"/>
</p:tagLst>
</file>

<file path=ppt/tags/tag18.xml><?xml version="1.0" encoding="utf-8"?>
<p:tagLst xmlns:p="http://schemas.openxmlformats.org/presentationml/2006/main">
  <p:tag name="ISLIDE.THEME" val="https://www.islide.cc;https://www.islide.cc;"/>
</p:tagLst>
</file>

<file path=ppt/tags/tag19.xml><?xml version="1.0" encoding="utf-8"?>
<p:tagLst xmlns:p="http://schemas.openxmlformats.org/presentationml/2006/main">
  <p:tag name="PA" val="v3.0.0"/>
</p:tagLst>
</file>

<file path=ppt/tags/tag2.xml><?xml version="1.0" encoding="utf-8"?>
<p:tagLst xmlns:p="http://schemas.openxmlformats.org/presentationml/2006/main">
  <p:tag name="ISLIDE.THEME" val="https://www.islide.cc;https://www.islide.cc;"/>
</p:tagLst>
</file>

<file path=ppt/tags/tag20.xml><?xml version="1.0" encoding="utf-8"?>
<p:tagLst xmlns:p="http://schemas.openxmlformats.org/presentationml/2006/main">
  <p:tag name="PA" val="v3.0.0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1Smkff3fSzGMOuItfjj3Fw"/>
</p:tagLst>
</file>

<file path=ppt/tags/tag23.xml><?xml version="1.0" encoding="utf-8"?>
<p:tagLst xmlns:p="http://schemas.openxmlformats.org/presentationml/2006/main">
  <p:tag name="ISLIDE.THEME" val="https://www.islide.cc;https://www.islide.cc;"/>
</p:tagLst>
</file>

<file path=ppt/tags/tag24.xml><?xml version="1.0" encoding="utf-8"?>
<p:tagLst xmlns:p="http://schemas.openxmlformats.org/presentationml/2006/main">
  <p:tag name="PA" val="v4.0.0"/>
</p:tagLst>
</file>

<file path=ppt/tags/tag25.xml><?xml version="1.0" encoding="utf-8"?>
<p:tagLst xmlns:p="http://schemas.openxmlformats.org/presentationml/2006/main">
  <p:tag name="PA" val="v4.0.0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1Smkff3fSzGMOuItfjj3Fw"/>
</p:tagLst>
</file>

<file path=ppt/tags/tag28.xml><?xml version="1.0" encoding="utf-8"?>
<p:tagLst xmlns:p="http://schemas.openxmlformats.org/presentationml/2006/main">
  <p:tag name="ISLIDE.THEME" val="https://www.islide.cc;https://www.islide.cc;"/>
</p:tagLst>
</file>

<file path=ppt/tags/tag29.xml><?xml version="1.0" encoding="utf-8"?>
<p:tagLst xmlns:p="http://schemas.openxmlformats.org/presentationml/2006/main">
  <p:tag name="PA" val="v4.0.0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PA" val="v4.0.0"/>
</p:tagLst>
</file>

<file path=ppt/tags/tag31.xml><?xml version="1.0" encoding="utf-8"?>
<p:tagLst xmlns:p="http://schemas.openxmlformats.org/presentationml/2006/main">
  <p:tag name="PA" val="v4.0.0"/>
</p:tagLst>
</file>

<file path=ppt/tags/tag32.xml><?xml version="1.0" encoding="utf-8"?>
<p:tagLst xmlns:p="http://schemas.openxmlformats.org/presentationml/2006/main">
  <p:tag name="PA" val="v4.0.0"/>
</p:tagLst>
</file>

<file path=ppt/tags/tag33.xml><?xml version="1.0" encoding="utf-8"?>
<p:tagLst xmlns:p="http://schemas.openxmlformats.org/presentationml/2006/main">
  <p:tag name="PA" val="v4.0.0"/>
</p:tagLst>
</file>

<file path=ppt/tags/tag34.xml><?xml version="1.0" encoding="utf-8"?>
<p:tagLst xmlns:p="http://schemas.openxmlformats.org/presentationml/2006/main">
  <p:tag name="PA" val="v4.0.0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1Smkff3fSzGMOuItfjj3Fw"/>
</p:tagLst>
</file>

<file path=ppt/tags/tag37.xml><?xml version="1.0" encoding="utf-8"?>
<p:tagLst xmlns:p="http://schemas.openxmlformats.org/presentationml/2006/main">
  <p:tag name="ISLIDE.THEME" val="https://www.islide.cc;https://www.islide.cc;"/>
</p:tagLst>
</file>

<file path=ppt/tags/tag38.xml><?xml version="1.0" encoding="utf-8"?>
<p:tagLst xmlns:p="http://schemas.openxmlformats.org/presentationml/2006/main">
  <p:tag name="PA" val="v4.0.0"/>
</p:tagLst>
</file>

<file path=ppt/tags/tag39.xml><?xml version="1.0" encoding="utf-8"?>
<p:tagLst xmlns:p="http://schemas.openxmlformats.org/presentationml/2006/main">
  <p:tag name="ISLIDE.THEME" val="https://www.islide.cc;"/>
</p:tagLst>
</file>

<file path=ppt/tags/tag4.xml><?xml version="1.0" encoding="utf-8"?>
<p:tagLst xmlns:p="http://schemas.openxmlformats.org/presentationml/2006/main">
  <p:tag name="THINKCELLSHAPEDONOTDELETE" val="t1Smkff3fSzGMOuItfjj3Fw"/>
</p:tagLst>
</file>

<file path=ppt/tags/tag40.xml><?xml version="1.0" encoding="utf-8"?>
<p:tagLst xmlns:p="http://schemas.openxmlformats.org/presentationml/2006/main">
  <p:tag name="ISPRING_ULTRA_SCORM_COURSE_ID" val="2D89F78D-9A59-4AA2-BC3F-23E01D72866C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_SCORM_RATE_SLIDES" val="1"/>
  <p:tag name="ISPRINGONLINEFOLDERID" val="0"/>
  <p:tag name="ISPRINGONLINEFOLDERPATH" val="内容列表"/>
  <p:tag name="ISPRINGCLOUDFOLDERID" val="0"/>
  <p:tag name="ISPRINGCLOUDFOLDERPATH" val="资源库"/>
  <p:tag name="ISPRING_PLAYERS_CUSTOMIZATION" val="UEsDBBQAAgAIAOeJc0sVDq0oZAQAAAcRAAAdAAAAdW5pdmVyc2FsL2NvbW1vbl9tZXNzYWdlcy5sbmetWG1v2zYQ/l6g/4EQUGADtrQd0KIYEge0xNhEZMmV6DjZCwRGYmwilJjpxW32ab9mP2y/ZEfKTuK+QFISwDZMyvfc8e6eu6MPjz/nCm1EWUldHDlvD944SBSpzmSxOnIW7OTnDw6qal5kXOlCHDmFdtDx6OWLQ8WLVcNXAr6/fIHQYS6qCpbVyKzu10hmR858nLjhbI6Di8QPJ2EyphNn5Or8hhe3yNcr/Uf5wy/vP3x+++79j4evt5J9gOIZ9v19KGSR3r3pARSwKPQTQCN+EpBz5ozM5zC5cMF8GhBntP0yTHoekTNnZD475RZRRAKWxD71SELjJAiZ9YVPGPGc0YVu0JpvBKo12kjxCdVrAZGsZSlQpWRmH6QaNopGdCnzwhmmQRKRmEXUZTQMnFGsy/L2JwvLm3qtS1BXoUxW/FKJzOqEnLHPb0pRgWpeQ04heNVrCb/UOZfFQafqCC9pMElYGPpxQgJvt+OMSJEhr+RGzUCUCMckAoCSV6J8hGxis8yKI6zUMIQpnUx9eDNjwlSu1gre9VA75gRiMBdFlxTkCIkgu+J4GUaecRqoQhzd8Kr6pMtsLz8eBqoLmAZuCCnosgfgzGDsgCHGEipHWYq07gKbkTjGE5KMw3NIZOBdOEQiPAW6nQ6RuCAxUITEXTIBPqMTbBLeUGyX/zt+pdyks7pFPE1BzrhvI3VTwY5xKbDAMq06GKYmJh8XEDaK/e/QuEUF79rVSm4E2FFmouxUBJXFJZ7Joo8L+ltygqlPvATSyguXCbMlz2jM+S0qdI14tuFFKtClSHkDuX4LzzKZ2Wcmzlb/X438G/F6W1VebQtS4JHzV0Pt2ath3zCrqcCmuhb5Td2l2jhsa/5jrDA5/V0T+hz9cfpjlwQ4ouHzRKaSeaPaqvvk+NxZNjRGnUY80VP9o/XclsRtbR1TKFhjqftLEOimpn9AA1T9pWhwAormbYmGGk6LqwE6g3ALEGj0WIwzcNWeCWfgwgHySzKOKYPZaCkuK1l3jh2WjW2Avh3aFOY8JWpxT8ZLcaVhwlGCb9rpA7qQjXRnQB8MN3utglHmg8kBAK7a5AFIJXOwP+uBuZiRnQfaAr93kqVuVGbJq+S1LfLg2yYXX49NV6XO7a7i1S552yZz/BQr2sNFrdL5gPZ/x7/e8XlAv8dHKSY4cqeJiwOXmEHfcFX1FAIKGFf4LE58PDbiwIWc1+kamumVboqsJ1A7q3vkBAPY9syx4GW6/u+ff3tifGFJu4u2u78OAgFimypI7sB+D3Qtqj+7QBge78vZRR+p7d1mJ9fzqsMoZOGz3CF421pyncPWQbdeSPJt0DBj2J3OgAexTXvdlDC6DUGY4egUapmdwp3RjJfXUAiZ1moQinW1ScB6mPb762VTK1mIIbJPayXmwIzOE+x59q4N5FMyvW57ZgY3inR76VZw6e4L5k5xAHX2CzyRyXogoG1NuyoERG/X9zTffN2p7laV/cvi8PWDfzD+B1BLAwQUAAIACADniXNLCH4LIykDAACGDAAAJwAAAHVuaXZlcnNhbC9mbGFzaF9wdWJsaXNoaW5nX3NldHRpbmdzLnhtbNVX3W7aMBS+5yksT70saTu6diihqgpo1VpAhW3tVWViQ6w6dhbbUHq1p9mD7Ul2HAMFtevSH6RNCBGfn+/8n5jw6DYVaMJyzZWM8G51ByMmY0W5HEf4y6C9fYiRNkRSIpRkEZYKo6NGJczsUHCd9JkxIKoRwEhdz0yEE2OyehBMp9Mq11nuuEpYA/i6Gqs0yHKmmTQsDzJBZvBjZhnTeI5QAgC+qZJztUalglDokc4VtYIhTsFzyV1QRLQF0QkOvNiQxDfjXFlJT5RQOcrHwwi/Ozx2n4WMh2rylEmXE90AoiObOqGUOy+I6PM7hhLGxwm4e1DDaMqpSSK8V3MoIB08RCmwfejEoZwoyIE0c/iUGUKJIf7o7Rl2a/SC4El0JknK4wFwkIs/ws3B9aerXuvi7LTz+XrQ7Z4NTnveiUInWMcJg3VDITikbB6zpZ2QGEPiBPwGnRERmoXBKmkhNlJyzTl3RkMlIPeFFrRROmS0Q1K2Uo3+DZdtkNzFaASBiFmEj3NOBEbcEMHjpbK2Q224KareXpVEgAXtydB5H9+b99mJE5JrturWgqNdzuPGN2UFRTNlkeA3DBmFIH6bwlPC0Gpx0ChXaUGF9jFICw4WJ5xNGT0qcjoH/JOhKzCRWtCEXs0EM97Cd8vv0JCNVA64jEygs4HOtcevPgs4I1rfg5KFj1v9s9Nm6/q002xdbrkACZ0QGT8THArO0sxsBJ/MkFRmoQfpiInVrCgK5bTglYmt+vIyaJ5a4cv81sVYgd5gSTZj5TmF+asHpc0mZFIMohuuAhpGkENJPCYwYlgXXFpWFjAmEikpZojEsNa0G+sJV1YDxQ+wh9Yv99DrIy6L0xhWG1jMKctLQe7s7r2v7X84OPxYrwa/fvzcflJpvvB7gjhzfuOfPLnyl2v/4TYMA7elH1/aJrf/5s7uXbS+lslrp3U5KFXSVr8UXLeMVPdzGakL/5LprbxgSrkAS2nshwzWkuApN4y+ZYu9oE1e9W73PbaZNtlgzK8Zjf8mZH9aXhPX7oVh8OjF1XFSLnkKiXArcXnbbezXduCm+SirUgG09f8OjcpvUEsDBBQAAgAIAOeJc0u1/AlkugIAAFUKAAAhAAAAdW5pdmVyc2FsL2ZsYXNoX3NraW5fc2V0dGluZ3MueG1slVZtb+IwDP5+vwJx3+nulZ3UITHGSZN2t+k27XvamjYiTaokZce/vzhN1gQo9LAmEft5bMexzVK1pXzxYTJJc8GEfAatKS8VarxuQoubadZqLfgsF1wD1zMuZE3YdPHxp/2kiUVeYokdyLGcDcmhDzO3nzEUF+PbHGWIkIu6IXz/IEoxy0i+LaVoeXExtWrfgGSUbw3y6sd8tR4MwKjS9xrqKKf1Nco4SiNBKcCUvq9RLrIYyYD5SFf2M5LThzp/+wPajiqqLW35CWWI1pAS4iJfL1GG8dx4j19ljnKeoOGvNtAvn1EGoYzsQcbO776iDDJE0zb/0yONFCUWNOacf8R3DhOkMOOHWV2hXCTghTDQxVdw5bF3vQtA7ms49ymOqxTsCet6sBDw0TMGCy1bSBN/6myqEm+PrTbzAYsNYcoAQlUPejJJP5FWeTexrsf9gTfKi9CX0/SQV8HaGlZdwoG7WN/jV6tbuytCp++6IEMJO6cMUuyVPfK3qesRMlD2yGdGC3jkbH+cwaGpI/lHviXuOc/X31iBE3MsnNWfvBUjPeDoqiBVp/CYWhSwUJjOC60B3y1NrK5LKTnKKeVkR0uiqeC/EJft7WVUmhwYXK+d7qxUU83gVMPZHM2aDstlz3E/OmvckN3PQn+57jzRZovfTInWJK9q87OkphPHM2NiCjNNTjNwTxo4yHu+EQHHxh4i1URuQb4IwcaG4UKDGutedMM1BE+ToAZpcrrKqXNyqvy8rTOQa/NqFJSvcqzsgBUtK2b+9CuFNygOGAPWjqor448T+t6XgcI1ARCZV75ru0NnqVumKYMd+OEPFPbKQ3dLlenSoYZb6gfY6LDlnGZUT7pd0fdKvEMC/Qn8q0krcnxgGdH2mmTK3iyafL+G+1yixezXGTZfuMns2fVS5NjYjytolPjv5D9QSwMEFAACAAgA54lzSyqWD2f+AgAAlwsAACYAAAB1bml2ZXJzYWwvaHRtbF9wdWJsaXNoaW5nX3NldHRpbmdzLnhtbM2Wb08aMRjA3/Mpmi6+lFPnpiN3GCMYiU6IsE1fmXItXGOvvbU98Hy1T7MPtk+yp1dAiI6dRpaFEOjTPr/nX/u04dF9KtCEacOVjPBufQcjJmNFuRxH+MvgdPsQI2OJpEQoySIsFUZHzVqY5UPBTdJn1sJSgwAjTSOzEU6szRpBMJ1O69xk2s0qkVvgm3qs0iDTzDBpmQ4yQQr4sUXGDJ4RKgDgmyo5U2vWagiFnvRZ0VwwxCl4LrkLiogzmwoc+FVDEt+NtcolPVFCaaTHwwi/Ozx2n/kaT2rxlEmXEtMEoRPbBqGUOyeI6PMHhhLGxwl4e7CP0ZRTm0R4b99RYHXwlFKyfeTEUU4UpEDaGT5lllBiiR96e5bdWzMXeBEtJEl5PIAZ5MKPcGtwe3bTa19ddC7Pbwfd7sWg0/NOlDrBKicMVg2F4JDKdcwWdkJiLYkT8Bt0RkQYFgbLovmykZIrzrkxGioBqS+1MBqBp6KI8LHmRGDELRE8XsxaosfMnnIBMTjd3fpIWvwI9PHGCdGGLRuazxiXxbj5TeWCokLlSPA7hqxCEFGewr+EoeV0o5FWaSkVxFhkBKcMTTibMnpUZmkG/JOhGzCR5qAJmy8TzHoL33P+gIZspDRwGZnAVgU5N55ffxE4I8Y8Qsncx63+RafVvu1cttrXWy5AQidExi+EQwlZmtmN8EmBpLJzPUhHTHLDyqJQTsu5KrHVX18Gw9Nc+DK/dTGW0BssyWasvKQwf/WgstmETMqD6A5XiYYjyKEkngkTMRx3LnNWFRgTiZQUBSIxNCrjjvWEq9yAxB9gjzav99DrIy7L0RhuDrCoKdOVkDu7e+/3P3w8OPzUqAe/fvzcXqs0a+E9QZw538NP1jbxRSN/2g3DwPXO59uw1fm/6sK9q/bXKpm6bF8PKhWp3a+E61ZZ1T2vsurKXxu9pSujkgvQZsb+2ECjETzlltG33DSvKPz6+9dvizcq/AajWLt9/98g/Gjx3Fp5X4XBsw/AGshXH9PN2m9QSwMEFAACAAgA54lzS2hxUpGaAQAAHwYAAB8AAAB1bml2ZXJzYWwvaHRtbF9za2luX3NldHRpbmdzLmpzjZRNb8IwDIbv/AqUXSfEPmG7ocGkSRwmjdu0QyimVKRJlaQdHeK/rw5fTeqOxRfy8uR17CredrrVYhHrPne37rfbv/t7pwFqVudw7euiRU9RZ0YkC5glKYhEAguQ4nj0JO/OBGXMpDOdlx9oa2p+TOE/Sy5MHc8IC01ohjpcEOA3oW2owz8nsVOra19TrdHz3Fole5GSFqTtSaVT7hh29epWvcQAVgXoC+iSR+CZDtxqI8+ODwOMOhepNOOynKpY9eY8Wsda5XLRln9VZqCrT77eA/2nwcvEsxOJsW8W0jDxZIjRTmYajIFD3scJBgkLPgdR8+279QfqGTcLCugiMYk90qMbjDqd8RgaXRqOMHxMVl6Nbg4wmpyFjd0Td7cYHiF4CbphNb7H8ECV5dk/PmCmVYwdaaDNnp9QofgikfEhdR+D5PCyaNvWvXOh7vpj5j0hFTyhFfX80rbZEYKGAK03lo55TZB3StkJSpREDkVo1LQq6DliwzmC+88u49byaJVW46EajlUbuF6Dniklqtt/XbpnmKuz+wVQSwMEFAACAAgAaWGeSz08L9HBAAAA5QEAABoAAAB1bml2ZXJzYWwvaTE4bl9wcmVzZXRzLnhtbJ2RsQrCMBCG9z5FuN3EbqUkdRPcHHSWmqYaaS8ll1of35SKdJGAQyD/8X0/JCd3r75jT+PJOlSQ8y0wg9o1Fm8Kzqf9pgBGocam7hwaBeiA7apM2rzAozdkArFYgaTgHsJQCjFNE7c0+NhArhtDLCauXS/i6R2K2RTDosLilvYv+zODKssYk9fRduGAVbzHtCCMvFYwOxeN3GLrQPwCGpMATKrBUAJofQJ4DAnAjytAiu+b56RHCvGjYpBitZ4qewNQSwMEFAACAAgAaWGeS5r5lmRrAAAAawAAABwAAAB1bml2ZXJzYWwvbG9jYWxfc2V0dGluZ3MueG1ss7GvyM1RKEstKs7Mz7NVMtQzUFJIzUvOT8nMS7dVCg1x07VQUiguScxLSczJz0u1VcrLV1Kwt+OyyclPTswJTi0pASosVijISaxMLQpJzQUySlL9EnOBKp/tmfJ8ya5n09qfr9ivpG/HBQBQSwMEFAACAAgARJRXRyO0Tvv7AgAAsAgAABQAAAB1bml2ZXJzYWwvcGxheWVyLnhtbK1V30/bMBB+LtL+h8jv2C0dA6oExJDQHsaE1LHtrTKJm3hN4sx2COWv39nO76VsSHtolZzv++58993Fv3rOUu+JScVFHqAFniOP5aGIeB4H6OHr7fE5urp8d+QXKd0z6fEoQGXODYCmyIuYCiUvNIDvqU4C1DNgYEZeIbmQXO+B+xS420gnS/TuaAYuuQpQonWxIqSqKswVIPJYibQ0JAqHIiOFZIrlmkni0kBeg13pv6Phl4mc6H3BVA9Z6LcHrklajmfFByTVEgsZk5P5fEF+3H1ehwnL6DHPlaZ5yJAHlZzZUj7ScHcnojJlythmvktyzbQ2SVjbzNcrvjjPPSXDADmHTcaUojFTOM1jRByWTID9bUpVUvOoAa3hVTte81q/jXnfNG62c6RzLsrHlKsEjvqQzjoJ9Mkwqp/Z61oFPTQKujVMyJPsV8kli+zrt1aM8wVyAVvF2TyxqkI4gKdbGmoh9zcAAxXVHcRt07BrGraglgO30dcdBWpuu2VUl5I1pZr5Tzxi4guVkhpZXGpZMp+MjDWWDME+cVeum9Q1xE90lp7+Q2+M36g1P9VrnbGA/9GYT0DU1oTnEXu+5eCjWQY11QyKbWxYFyk2MbucVPmY9XQ9MLkc66bARTxNZcxgDCOqKens5BCUSarAJSzlCNs7OAhOeJyk8NOTDOPTgzQZlbtJht7BQXAqwt0EtDW3ZSTjOo7E1CrIJxPrxA9LpUXGX6w8B3tGr6wOXxu55ui64O3B2fyPURzEaAZziyZWl3nq7avm8N7MqVadz6ZwloFaYR6YLgvn1cxCWYx8IralZapv+jk1+7AHHeU8NR3TXN9B76Ja8xfmVTwyX7rF0tQkYUYzAfpwvuwxQD9huwzCW9OhiFuRN3XAmNg3928r2mz5unWu64c67EMNnzirHMbN1EdQRyxFmUejHuKi+4ioFHbatWTUS9kWbrQ4AZGKIkDv4aG+88XpRXfls8VFg7V53bvALpc3rPQ64U5BpNZ1exG/3g3w+BtQSwMEFAACAAgAaWGeS7CHI/RsAQAA9wIAACkAAAB1bml2ZXJzYWwvc2tpbl9jdXN0b21pemF0aW9uX3NldHRpbmdzLnhtbI1S20okMRB99yuCPzBJKreGdiC3lnlR0QGfm+ns0qyml07EZcnHm3Z3GEdHNPVUdU6doiqnTb/GaJ9Snh7Hv30ep3gXch7jz7Q+Q6jdTQ/TfDOHFHJaHSr3Yxym5038MS21Wk25j0M/D3ZB0xqj7vUhJbVyqmbMMIok89Qr5Dy3FWvANWAr5iix7eqdxD/dOexCzKdV29UR+rFhE1OY8yYO4c8ajtlvoeMNLud+GCsvrQVbouynFseWQIxwyX2hGgAEstwRh4uUjdQEecw4hmIUBQqIcE4aUYikHGrWNaKqMN8IxCRj1BXqae1GWhtHbZHQEKLrNK8aW7rOSIwRIQSYK1xAZzCqbKgaGtRyQHBgQBRtNFGAOtuZjhXvvLAcKeoFxoUZAxgfjnvY7u25DtVvr7M/5xeCJ7/gJLp4a3XCXO3uaZ4reRsefz/0OaBxuDi/ufV3/mqrt5vrq/P/vnz18J61mLVu/am3XwBQSwMEFAACAAgAamGeSyTg/xfEDAAAYxkAABcAAAB1bml2ZXJzYWwvdW5pdmVyc2FsLnBuZ+1XaVxT55o/isVOLSBqCrI7ttJFxKgBFJO4AOIom4QisouWyy7IIQYI0UtbBEXa3lvwgiESLAHCTkMwAUJF4NYYUFnCYqSCISSHJGAgIWSbg/bOb2a+zefhw/md8/zf9z3P+n/Oc/L9fU+ZfGT1EQAAJqe9Pc4BgBECADbe/NAYRox/4u+Gbxuunjt1AmgYsBHDwqbY4z7HAaC5aIs2+gNY/rcr3iFXAcC0Z+3a0J9SfQkALFdOexzHXYuQCs7QLwnH+1/rz+YA2GNVJ4ynP3Xbnr8b8bEH7vElhy83eVSctvmi4HNfj022f9n/1/s3HbYN52/e+mLgqGeNq0pJnKAFT4EThvAJ9uqFKwHshPqgoISRaCynNojtXFclLkvpCiEqx2Ppfhj1m8eb7bNhc648NK+1qLWeFafhshd7LaRPYOzMiFnMkfyCMyX7GFs2AkBdoG3qNsQUyUBkw4vdLiPbLSR3q5P3/PmMWZ2rzPiXwNoJb2Fvg0NyzAMHP5oHbAAADw/Y8a3m6+A6uA6ug+vgOrgOroPr4Dq4Dv4/BPdla6TMrwDg+tD/8UfhDS5gcZkf2RiRoxaOzBRhuzLnKvK+xk8RVShacrCgi0UGs9hSAIjqJDzlFzIHbrF0wu8sIsYSws5zR4/E6GQtgzCUZ2Mht0VEwu+QvMqSJ6XMM2qTUwSy5CwAaJ+gUXIyeV2Ee9Wp0UmhTF7rhdmOQgI+QCXeN8lp7KycFtMoySl/MBqS8Ux0jYhC0nu4poj9SKtDkr/5YR5KtCS9gkLn6KQpjvrFIlIYitJDMOhUznJNcARBWEBQ6M5xeYpvQEqhsGtVQv9qtlCB74zko70Gpo+0OalKONrLMxlVs3j2wHTJ3/12bzClvbqN7rtvqderOMxJNP0yCyw6LmDG6r7XvApIjbhVv2ZHvtU9wZUeE0cjRrL+RT3zVeYIAfEpmGMSxZXnqNh/GxKm2XhJNQX5EyL8y9R+YVP1DU278xM5yaBhHD8PjcTVh3ILCcvt1TcyedbYQSiD1f/PkLD+KmF8KPQWag5TiJYHnlRgX9dxlXGfdo9Xu8bbEd78qFxW3k2fxECjh/eA9hRhWVrWKU985cCt5CxfunE0qp0+ZPUA5D6NPzZhsiIhiwkOwSUMrvBHug5j9gwKX/0of5VweKHhep2mNqdhq41q/OZPzWFouz7HYJQ3BRvUvthnPbl/5yjayzfLlmEyI/LhjrgU9SsqqNP8lW8V/hSvjWEpku1/yEDl2HsrXMBI/GSOFXX6733R/872OmbyH6Ibr49galaWh4ktHfL4hXAad4xO6ad9iFqwz121uld0+cm1o8PXieqak7qsISJbhkybgKopUCor6aG5hYIQK13TtPW9pvMaGUppCU5i1zQtsxV1XZG7vjwRc53PKxtx/03h3ku2+ucdfM/hDlmXdUCzTRR/kHuDsJNrNnOALWSaTMAJfgGNgQ+TmM7P0fZmFexkICMw75GNQvV5MYu4H36pF2iJY+o02xAVyG5ollecywox+TSh6/4KCKoEKTsRAqFFQDNbxtowxkOSkA+HpLkhzIHmWmzZpDSXeLPgmeUfoOL7Iw8uCw4gdoB7s/B70XlBeft5u1xJNOqAfZ7bz2p3ROuFHBsMrk9lK+lIDempkuMSM28/4DdDadSNf6wuj4amMBrp/XWTZq3J5BiljC1v00QHc0Jwe2nhos9Y0tPSbQjEx5AeF2uC67e4lCeMKuqp1oXlQqlTw0TkowpjKcjBLRUuWP8YQItZQDcGlhw0G01wwDa22owNtsGJvGq73P5S1BaWELAooTe2iVIyfeYarK/zTHUWqw1Bgq67IGTTuuT8RUGBv8mzvqgksrDCscdtPi5uUpiaER/Jf+152ePx3WAjNbIRY2spGowctvsNWVwmZ5sDYA452aqJr3tFjoTrBfzHblzGQ6eyR3tG0Pb8GgtGEVZ/TXqVJFD/Agfe5Yw+O7Fzw69Lw4F+4eWRnNBZgnPn0gtJvmP5efTqXGWoM+2oZr61xLkyp5z/BRiCavQtUbSJlb11obFlLCdGoYIw4zKaMcxJcJdMkUsjNY055aqYGm69AlK96Rh4Eafs/SGbcwIHbOaj7d2XT6zwXKe0hoMGCf879a9D4a4ANNK8JIDEDaM+MVHhjRBUZYZZiYKEw2VnUSRt8vkc6lu1iEK5hzWe18wp+9e0InlGGqu5QVGh6wCrZjb4yghu8mgbc2NlVTPWxQckMp7GkZUaBHWjW7tM7ZZYWszl0chwqcwRV17nSRPEmHgrI8E5JJLiSr1oN/c1EMZKF7/RmhuheCWtSwPu8nt7D5I+8odGcdFIZzY9mfKUBbbtDEyacksJx91Wk5t9k/Df9d6svXy0UMeOmyJ7oV1YxJb8asC0IQtjWlaF5LhL0/kmx+R79ROBPtwN0pWl+zkyKrUD5rCjqOhGhk+Zcd+MQHPYwas7Pc9TSp10hCssaTYuURFHpd7WuRVHynrSqqur+72Yfi7miO7fwMH+6KFDs/j3XoCNlZraGmMOqt1p9ycS8nIp1iwzwT+smHubK64iOKAxAsupfstcmXBXAFui/H0tYKVw62obUY44boGoFw879UR9i/NRONq3nvT0FCt/30O9mAs3vym6IyX77ZsNSLoiPoJpeoXxLnh9Wtm7LHXKwPRIqGrxsxnknO1x/0CTNkizA1VV6kwbaPxtMVG/4+Jjb/IoCzXy+niMvotFPACNjldVsQQx7AR3vmdvB/mXtoSuOnUTrRQ7aO3Ra/iTRWLc/uHc5SKSdkbSSNJBkuZ+O/ajXDNMO0vaNulbbG7RFK7KtnHxicnBT4hhdrwK0crHUTwK7vYNxX7jzpntecjuCNP7CRMu+8s53UdNiRf03z0gpmsujda3+vjEuPepjkmmUIXEg3p0I7/GoSZu07iW+FP0/FTrnYLMRHjf9oDmBYpBGwuKyPjyb0+i/fkPry1O/36AkVg/FP7JQuv/rKBO/Sr0roImDt0P9/LcmefkZFgd2mc0o95eBOZtkta+z2W81SSS9MJ/CBMQQHk2jOMOIFGmOitTBGJ5bO5dvCsw+e2i8qyJH+aGWxi++JDuQZYoJrYjF1VFeLWiclurn+7MNZpqMln0UheTv7CrLfP2jRwynkCBeVgn56zsEwFDb4fuEEFNzDtPFUkNzdN3iwOQKTP+z/01NKVnDSWB3CxAXJpp4e6iUu22C/RjXrizEqy+tqe0+HUTz4n5siVzsdciWN6pshM9vTqIxqfdtYZGtoSpssdPqbLDaBEO/e7uAi0oKoFdPy+HGjmYZQvyGZNvXE1kEN7bqVW7xQfl3aA4lTg8CD2FRhyyYJK+pI1Ii+Be7AKyizWVprm1in7axyhSYs85p0DNg5wIO9mhfbS+8pmOZtJQt5Wk2b8oP5mUuPvLPcsfzK+a9h6wkgwQFTxXv+FBrtrs6EK3pEsjS9hcH6Zh3TgULCl31syVF5UN37rQ6Z2hcOncsxaob2IXDUH3Tr3vmGx4/GEKLNgrPOo081nS4LxyMgVLKEk3/b72sdDh14GykhpYY5d6ll48kz1n/DysJqtrvjILY3cCLwASVW+5zsz/1vWXhvyYcNenXkyD6pkR5lt+sf62WJjmKkgPZNvwu5K38n5mibgYlmhm15ohye8GAcbyeVATNVp/tU7SiCYrm2jHcWc9epdrrD2u/iJTtxTJ1Nc+FIBGTWXOHO2B1Zxewp8fr1VY2SSxySwAKTYl1cr9926u4MqD3LTibOhPM2f4K58F8Z/DbGTTYyRs/ljMcJKhLlRk2Ql/raRK+Rk4v349GZHDOVIGf5/ZMUgk1K5SM3Rx44T7T9TPTagPz63l1pY2jnYcPJe593MAq0FFtDZ+IGgbZIF3eCF62Uv3Lweg/ovsjlvqNT5eAhi3v0/SL+Rh68oJs//I6H7CkEqZU13xAO9nGQtqUML+nCQ9iCgJf2eW5ozBUJAg2GeIWQrRFs3wW4b0pB3QvC1CxIjAOzVjDerBUIOrNMQpFEov+UBLvcM/+ti5hvW01e2THdcjbTSqrzJ2WtgpHF3yrh1Mlle7FZm1EDNexlKIGW8FBRo5h1N48/V07y1H7nvWAIAoqDP66u3oZqh94XxPbZt4a0qf1BYh9Je72T2Ke9Vb510tDx6OtgdZHxfk2eesvGn6odTxc+B6DFjel80ew4dd60wxYHwRCP4tfiRJ94ZzvRGLcn/f/wAgLOV/zd8/boFH63B3I3iiLpPkb8FqF066b/+XoFsK/C+BbvDB1MMHlEG2AUOnccNLUwY9M3wrvFqzGn22pJJaZU/Spi7rVFPMr+CRHueMc9UeqP/asNk8bFOh9WHvr+GzwGlPX4+GE1F//U9QSwMEFAACAAgAamGeS3Br3rpLAAAAagAAABsAAAB1bml2ZXJzYWwvdW5pdmVyc2FsLnBuZy54bWyzsa/IzVEoSy0qzszPs1Uy1DNQsrfj5bIpKEoty0wtV6gAigEFIUBJoRLINUJwyzNTSjJslczNTBFiGamZ6Rkltkqm5iZwQX2gkQBQSwECAAAUAAIACADniXNLFQ6tKGQEAAAHEQAAHQAAAAAAAAABAAAAAAAAAAAAdW5pdmVyc2FsL2NvbW1vbl9tZXNzYWdlcy5sbmdQSwECAAAUAAIACADniXNLCH4LIykDAACGDAAAJwAAAAAAAAABAAAAAACfBAAAdW5pdmVyc2FsL2ZsYXNoX3B1Ymxpc2hpbmdfc2V0dGluZ3MueG1sUEsBAgAAFAACAAgA54lzS7X8CWS6AgAAVQoAACEAAAAAAAAAAQAAAAAADQgAAHVuaXZlcnNhbC9mbGFzaF9za2luX3NldHRpbmdzLnhtbFBLAQIAABQAAgAIAOeJc0sqlg9n/gIAAJcLAAAmAAAAAAAAAAEAAAAAAAYLAAB1bml2ZXJzYWwvaHRtbF9wdWJsaXNoaW5nX3NldHRpbmdzLnhtbFBLAQIAABQAAgAIAOeJc0tocVKRmgEAAB8GAAAfAAAAAAAAAAEAAAAAAEgOAAB1bml2ZXJzYWwvaHRtbF9za2luX3NldHRpbmdzLmpzUEsBAgAAFAACAAgAaWGeSz08L9HBAAAA5QEAABoAAAAAAAAAAQAAAAAAHxAAAHVuaXZlcnNhbC9pMThuX3ByZXNldHMueG1sUEsBAgAAFAACAAgAaWGeS5r5lmRrAAAAawAAABwAAAAAAAAAAQAAAAAAGBEAAHVuaXZlcnNhbC9sb2NhbF9zZXR0aW5ncy54bWxQSwECAAAUAAIACABElFdHI7RO+/sCAACwCAAAFAAAAAAAAAABAAAAAAC9EQAAdW5pdmVyc2FsL3BsYXllci54bWxQSwECAAAUAAIACABpYZ5LsIcj9GwBAAD3AgAAKQAAAAAAAAABAAAAAADqFAAAdW5pdmVyc2FsL3NraW5fY3VzdG9taXphdGlvbl9zZXR0aW5ncy54bWxQSwECAAAUAAIACABqYZ5LJOD/F8QMAABjGQAAFwAAAAAAAAAAAAAAAACdFgAAdW5pdmVyc2FsL3VuaXZlcnNhbC5wbmdQSwECAAAUAAIACABqYZ5LcGveuksAAABqAAAAGwAAAAAAAAABAAAAAACWIwAAdW5pdmVyc2FsL3VuaXZlcnNhbC5wbmcueG1sUEsFBgAAAAALAAsASQMAABokAAAAAA=="/>
  <p:tag name="ISPRING_PRESENTATION_TITLE" val="天空蓝悬浮渐变工作汇报总结PPT模板"/>
</p:tagLst>
</file>

<file path=ppt/tags/tag5.xml><?xml version="1.0" encoding="utf-8"?>
<p:tagLst xmlns:p="http://schemas.openxmlformats.org/presentationml/2006/main">
  <p:tag name="ISLIDE.THEME" val="https://www.islide.cc;https://www.islide.cc;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1Smkff3fSzGMOuItfjj3Fw"/>
</p:tagLst>
</file>

<file path=ppt/tags/tag8.xml><?xml version="1.0" encoding="utf-8"?>
<p:tagLst xmlns:p="http://schemas.openxmlformats.org/presentationml/2006/main">
  <p:tag name="ISLIDE.THEME" val="https://www.islide.cc;https://www.islide.cc;"/>
</p:tagLst>
</file>

<file path=ppt/tags/tag9.xml><?xml version="1.0" encoding="utf-8"?>
<p:tagLst xmlns:p="http://schemas.openxmlformats.org/presentationml/2006/main">
  <p:tag name="PA" val="v3.0.0"/>
</p:tagLst>
</file>

<file path=ppt/theme/theme1.xml><?xml version="1.0" encoding="utf-8"?>
<a:theme xmlns:a="http://schemas.openxmlformats.org/drawingml/2006/main" name="Office Theme">
  <a:themeElements>
    <a:clrScheme name="自定义 130">
      <a:dk1>
        <a:sysClr val="windowText" lastClr="000000"/>
      </a:dk1>
      <a:lt1>
        <a:sysClr val="window" lastClr="FFFFFF"/>
      </a:lt1>
      <a:dk2>
        <a:srgbClr val="C6D9F0"/>
      </a:dk2>
      <a:lt2>
        <a:srgbClr val="8DB3E2"/>
      </a:lt2>
      <a:accent1>
        <a:srgbClr val="80AADF"/>
      </a:accent1>
      <a:accent2>
        <a:srgbClr val="C4C7CB"/>
      </a:accent2>
      <a:accent3>
        <a:srgbClr val="5D626A"/>
      </a:accent3>
      <a:accent4>
        <a:srgbClr val="548DD4"/>
      </a:accent4>
      <a:accent5>
        <a:srgbClr val="7F7F7F"/>
      </a:accent5>
      <a:accent6>
        <a:srgbClr val="7F7F7F"/>
      </a:accent6>
      <a:hlink>
        <a:srgbClr val="17365D"/>
      </a:hlink>
      <a:folHlink>
        <a:srgbClr val="548DD4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984</Words>
  <Application>WPS 演示</Application>
  <PresentationFormat>自定义</PresentationFormat>
  <Paragraphs>167</Paragraphs>
  <Slides>20</Slides>
  <Notes>24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6</vt:i4>
      </vt:variant>
      <vt:variant>
        <vt:lpstr>幻灯片标题</vt:lpstr>
      </vt:variant>
      <vt:variant>
        <vt:i4>20</vt:i4>
      </vt:variant>
    </vt:vector>
  </HeadingPairs>
  <TitlesOfParts>
    <vt:vector size="40" baseType="lpstr">
      <vt:lpstr>Arial</vt:lpstr>
      <vt:lpstr>宋体</vt:lpstr>
      <vt:lpstr>Wingdings</vt:lpstr>
      <vt:lpstr>Work Sans</vt:lpstr>
      <vt:lpstr>Segoe Print</vt:lpstr>
      <vt:lpstr>微软雅黑</vt:lpstr>
      <vt:lpstr>Questrial</vt:lpstr>
      <vt:lpstr>等线</vt:lpstr>
      <vt:lpstr>Calibri</vt:lpstr>
      <vt:lpstr>Arial Unicode MS</vt:lpstr>
      <vt:lpstr>Calibri</vt:lpstr>
      <vt:lpstr>Bookman Old Style</vt:lpstr>
      <vt:lpstr>Calibri Light</vt:lpstr>
      <vt:lpstr>Office Them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天空蓝悬浮渐变工作汇报总结PPT模板</dc:title>
  <dc:creator/>
  <cp:lastModifiedBy>I see the light</cp:lastModifiedBy>
  <cp:revision>178</cp:revision>
  <dcterms:created xsi:type="dcterms:W3CDTF">2017-08-18T03:02:00Z</dcterms:created>
  <dcterms:modified xsi:type="dcterms:W3CDTF">2022-06-02T04:2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356</vt:lpwstr>
  </property>
  <property fmtid="{D5CDD505-2E9C-101B-9397-08002B2CF9AE}" pid="3" name="ICV">
    <vt:lpwstr>FBA92F2965D547309029F7393B1CB2B8</vt:lpwstr>
  </property>
</Properties>
</file>